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44" r:id="rId2"/>
  </p:sldMasterIdLst>
  <p:notesMasterIdLst>
    <p:notesMasterId r:id="rId15"/>
  </p:notesMasterIdLst>
  <p:handoutMasterIdLst>
    <p:handoutMasterId r:id="rId16"/>
  </p:handoutMasterIdLst>
  <p:sldIdLst>
    <p:sldId id="510" r:id="rId3"/>
    <p:sldId id="542" r:id="rId4"/>
    <p:sldId id="538" r:id="rId5"/>
    <p:sldId id="338" r:id="rId6"/>
    <p:sldId id="1152" r:id="rId7"/>
    <p:sldId id="1151" r:id="rId8"/>
    <p:sldId id="1153" r:id="rId9"/>
    <p:sldId id="1154" r:id="rId10"/>
    <p:sldId id="1149" r:id="rId11"/>
    <p:sldId id="545" r:id="rId12"/>
    <p:sldId id="534" r:id="rId13"/>
    <p:sldId id="286" r:id="rId14"/>
  </p:sldIdLst>
  <p:sldSz cx="12192000" cy="6858000"/>
  <p:notesSz cx="9928225" cy="67976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B89"/>
    <a:srgbClr val="FFFF00"/>
    <a:srgbClr val="FF0000"/>
    <a:srgbClr val="0099FF"/>
    <a:srgbClr val="9933FF"/>
    <a:srgbClr val="00FF00"/>
    <a:srgbClr val="7F7F7F"/>
    <a:srgbClr val="00B0F0"/>
    <a:srgbClr val="FF3300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64319" autoAdjust="0"/>
  </p:normalViewPr>
  <p:slideViewPr>
    <p:cSldViewPr snapToGrid="0">
      <p:cViewPr varScale="1">
        <p:scale>
          <a:sx n="72" d="100"/>
          <a:sy n="72" d="100"/>
        </p:scale>
        <p:origin x="1458" y="66"/>
      </p:cViewPr>
      <p:guideLst>
        <p:guide orient="horz" pos="2183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1" y="5"/>
            <a:ext cx="4303243" cy="340808"/>
          </a:xfrm>
          <a:prstGeom prst="rect">
            <a:avLst/>
          </a:prstGeom>
        </p:spPr>
        <p:txBody>
          <a:bodyPr vert="horz" lIns="91884" tIns="45941" rIns="91884" bIns="459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2664" y="5"/>
            <a:ext cx="4303243" cy="340808"/>
          </a:xfrm>
          <a:prstGeom prst="rect">
            <a:avLst/>
          </a:prstGeom>
        </p:spPr>
        <p:txBody>
          <a:bodyPr vert="horz" lIns="91884" tIns="45941" rIns="91884" bIns="45941" rtlCol="0"/>
          <a:lstStyle>
            <a:lvl1pPr algn="r">
              <a:defRPr sz="1200"/>
            </a:lvl1pPr>
          </a:lstStyle>
          <a:p>
            <a:fld id="{1B5FB622-1A8D-4320-A59B-04C56AB073A2}" type="datetimeFigureOut">
              <a:rPr lang="ru-RU" smtClean="0"/>
              <a:pPr/>
              <a:t>22.12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1" y="6456875"/>
            <a:ext cx="4303243" cy="340808"/>
          </a:xfrm>
          <a:prstGeom prst="rect">
            <a:avLst/>
          </a:prstGeom>
        </p:spPr>
        <p:txBody>
          <a:bodyPr vert="horz" lIns="91884" tIns="45941" rIns="91884" bIns="459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2664" y="6456875"/>
            <a:ext cx="4303243" cy="340808"/>
          </a:xfrm>
          <a:prstGeom prst="rect">
            <a:avLst/>
          </a:prstGeom>
        </p:spPr>
        <p:txBody>
          <a:bodyPr vert="horz" lIns="91884" tIns="45941" rIns="91884" bIns="45941" rtlCol="0" anchor="b"/>
          <a:lstStyle>
            <a:lvl1pPr algn="r">
              <a:defRPr sz="1200"/>
            </a:lvl1pPr>
          </a:lstStyle>
          <a:p>
            <a:fld id="{3A496C03-193C-48A5-B2CC-0E7B07A600A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387064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3" y="8"/>
            <a:ext cx="4302229" cy="341065"/>
          </a:xfrm>
          <a:prstGeom prst="rect">
            <a:avLst/>
          </a:prstGeom>
        </p:spPr>
        <p:txBody>
          <a:bodyPr vert="horz" lIns="91884" tIns="45941" rIns="91884" bIns="459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3708" y="8"/>
            <a:ext cx="4302229" cy="341065"/>
          </a:xfrm>
          <a:prstGeom prst="rect">
            <a:avLst/>
          </a:prstGeom>
        </p:spPr>
        <p:txBody>
          <a:bodyPr vert="horz" lIns="91884" tIns="45941" rIns="91884" bIns="45941" rtlCol="0"/>
          <a:lstStyle>
            <a:lvl1pPr algn="r">
              <a:defRPr sz="1200"/>
            </a:lvl1pPr>
          </a:lstStyle>
          <a:p>
            <a:fld id="{9A5EBE62-2F05-40A6-9DB1-465C2C48E26C}" type="datetimeFigureOut">
              <a:rPr lang="ru-RU" smtClean="0"/>
              <a:pPr/>
              <a:t>22.1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6700" cy="2293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84" tIns="45941" rIns="91884" bIns="4594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824" y="3271386"/>
            <a:ext cx="7942580" cy="2676582"/>
          </a:xfrm>
          <a:prstGeom prst="rect">
            <a:avLst/>
          </a:prstGeom>
        </p:spPr>
        <p:txBody>
          <a:bodyPr vert="horz" lIns="91884" tIns="45941" rIns="91884" bIns="4594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3" y="6456622"/>
            <a:ext cx="4302229" cy="341065"/>
          </a:xfrm>
          <a:prstGeom prst="rect">
            <a:avLst/>
          </a:prstGeom>
        </p:spPr>
        <p:txBody>
          <a:bodyPr vert="horz" lIns="91884" tIns="45941" rIns="91884" bIns="459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3708" y="6456622"/>
            <a:ext cx="4302229" cy="341065"/>
          </a:xfrm>
          <a:prstGeom prst="rect">
            <a:avLst/>
          </a:prstGeom>
        </p:spPr>
        <p:txBody>
          <a:bodyPr vert="horz" lIns="91884" tIns="45941" rIns="91884" bIns="45941" rtlCol="0" anchor="b"/>
          <a:lstStyle>
            <a:lvl1pPr algn="r">
              <a:defRPr sz="1200"/>
            </a:lvl1pPr>
          </a:lstStyle>
          <a:p>
            <a:fld id="{A1E85537-4093-4201-B65A-427515B3CFD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689743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2EC84D-7D39-49E6-85CF-E0054CEEF88B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903105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E85537-4093-4201-B65A-427515B3CFD2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97685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E85537-4093-4201-B65A-427515B3CFD2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72916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Заметки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dirty="0"/>
          </a:p>
        </p:txBody>
      </p:sp>
      <p:sp>
        <p:nvSpPr>
          <p:cNvPr id="27652" name="Номер слайда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64D14D4-2424-4D8E-B1DA-D7C23A8A818E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58953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E85537-4093-4201-B65A-427515B3CFD2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73526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DEFF-80FA-4442-B069-8E50CF53B9A1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30132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DEFF-80FA-4442-B069-8E50CF53B9A1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81025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DEFF-80FA-4442-B069-8E50CF53B9A1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17346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DEFF-80FA-4442-B069-8E50CF53B9A1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22023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7DEFF-80FA-4442-B069-8E50CF53B9A1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0902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49C283-88CC-48B7-863C-0E476887314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9019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78ED42-75E4-4546-AFA2-021CCAF579E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8000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81350-7DAD-498B-BB15-0E5DE97E96F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8105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=""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37459303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8D36E33F-58A3-2C41-B672-6E3E68DA1A4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710812" y="1519376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17" name="Рисунок 2">
            <a:extLst>
              <a:ext uri="{FF2B5EF4-FFF2-40B4-BE49-F238E27FC236}">
                <a16:creationId xmlns="" xmlns:a16="http://schemas.microsoft.com/office/drawing/2014/main" id="{3B2B5356-D75D-4F42-BCA3-3EA90378412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183377" y="1519376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18" name="Рисунок 2">
            <a:extLst>
              <a:ext uri="{FF2B5EF4-FFF2-40B4-BE49-F238E27FC236}">
                <a16:creationId xmlns="" xmlns:a16="http://schemas.microsoft.com/office/drawing/2014/main" id="{837EB3C7-4AD3-4741-AF17-C9D8B4CE4C8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55942" y="1519376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19" name="Рисунок 2">
            <a:extLst>
              <a:ext uri="{FF2B5EF4-FFF2-40B4-BE49-F238E27FC236}">
                <a16:creationId xmlns="" xmlns:a16="http://schemas.microsoft.com/office/drawing/2014/main" id="{1C67F7C5-10B0-744C-AE47-1BB7F2C463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28507" y="1519376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1" name="Рисунок 2">
            <a:extLst>
              <a:ext uri="{FF2B5EF4-FFF2-40B4-BE49-F238E27FC236}">
                <a16:creationId xmlns="" xmlns:a16="http://schemas.microsoft.com/office/drawing/2014/main" id="{032A1A0A-E2A3-F845-BBC3-793DD16C0F6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601072" y="1519376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2" name="Рисунок 2">
            <a:extLst>
              <a:ext uri="{FF2B5EF4-FFF2-40B4-BE49-F238E27FC236}">
                <a16:creationId xmlns="" xmlns:a16="http://schemas.microsoft.com/office/drawing/2014/main" id="{FE1C41BC-E172-B044-8023-5C089A56879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9073637" y="1519376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3" name="Рисунок 2">
            <a:extLst>
              <a:ext uri="{FF2B5EF4-FFF2-40B4-BE49-F238E27FC236}">
                <a16:creationId xmlns="" xmlns:a16="http://schemas.microsoft.com/office/drawing/2014/main" id="{B6C615F0-3A31-C240-997E-FEC17ECFE1B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710812" y="2542232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4" name="Рисунок 2">
            <a:extLst>
              <a:ext uri="{FF2B5EF4-FFF2-40B4-BE49-F238E27FC236}">
                <a16:creationId xmlns="" xmlns:a16="http://schemas.microsoft.com/office/drawing/2014/main" id="{3881F6F7-9883-E140-9C25-C7AB0977C9E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183377" y="2542232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5" name="Рисунок 2">
            <a:extLst>
              <a:ext uri="{FF2B5EF4-FFF2-40B4-BE49-F238E27FC236}">
                <a16:creationId xmlns="" xmlns:a16="http://schemas.microsoft.com/office/drawing/2014/main" id="{B1F31A74-229A-EF4C-BCE8-7DE84B4ADB2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655942" y="2542232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6" name="Рисунок 2">
            <a:extLst>
              <a:ext uri="{FF2B5EF4-FFF2-40B4-BE49-F238E27FC236}">
                <a16:creationId xmlns="" xmlns:a16="http://schemas.microsoft.com/office/drawing/2014/main" id="{3CD5F662-C087-A148-B3BF-1557D6696A0A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28507" y="2542232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7" name="Рисунок 2">
            <a:extLst>
              <a:ext uri="{FF2B5EF4-FFF2-40B4-BE49-F238E27FC236}">
                <a16:creationId xmlns="" xmlns:a16="http://schemas.microsoft.com/office/drawing/2014/main" id="{AEE8F5D1-FA84-E849-A0F8-194E15C7AF6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601072" y="2542232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8" name="Рисунок 2">
            <a:extLst>
              <a:ext uri="{FF2B5EF4-FFF2-40B4-BE49-F238E27FC236}">
                <a16:creationId xmlns="" xmlns:a16="http://schemas.microsoft.com/office/drawing/2014/main" id="{203EBA19-EF70-4C44-ACAC-C6E2CA4D876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73637" y="2542232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29" name="Рисунок 2">
            <a:extLst>
              <a:ext uri="{FF2B5EF4-FFF2-40B4-BE49-F238E27FC236}">
                <a16:creationId xmlns="" xmlns:a16="http://schemas.microsoft.com/office/drawing/2014/main" id="{091600B4-215C-B64B-99D1-199C5DDA245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710812" y="3565088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30" name="Рисунок 2">
            <a:extLst>
              <a:ext uri="{FF2B5EF4-FFF2-40B4-BE49-F238E27FC236}">
                <a16:creationId xmlns="" xmlns:a16="http://schemas.microsoft.com/office/drawing/2014/main" id="{64C4E337-ADD3-BB41-B198-45738D967EF0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183377" y="3565088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31" name="Рисунок 2">
            <a:extLst>
              <a:ext uri="{FF2B5EF4-FFF2-40B4-BE49-F238E27FC236}">
                <a16:creationId xmlns="" xmlns:a16="http://schemas.microsoft.com/office/drawing/2014/main" id="{27E259D7-419F-444C-90F8-75E8BCA89F3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655942" y="3565088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32" name="Рисунок 2">
            <a:extLst>
              <a:ext uri="{FF2B5EF4-FFF2-40B4-BE49-F238E27FC236}">
                <a16:creationId xmlns="" xmlns:a16="http://schemas.microsoft.com/office/drawing/2014/main" id="{45C8F71B-F599-8849-AEEB-43D51CE9CC0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6128507" y="3565088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33" name="Рисунок 2">
            <a:extLst>
              <a:ext uri="{FF2B5EF4-FFF2-40B4-BE49-F238E27FC236}">
                <a16:creationId xmlns="" xmlns:a16="http://schemas.microsoft.com/office/drawing/2014/main" id="{F02BDC7C-1317-2148-AB84-D5A5F5B7F93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601072" y="3565088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  <p:sp>
        <p:nvSpPr>
          <p:cNvPr id="34" name="Рисунок 2">
            <a:extLst>
              <a:ext uri="{FF2B5EF4-FFF2-40B4-BE49-F238E27FC236}">
                <a16:creationId xmlns="" xmlns:a16="http://schemas.microsoft.com/office/drawing/2014/main" id="{6B685AEF-9E1D-084E-868D-7D14C94FA1E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073637" y="3565088"/>
            <a:ext cx="1301466" cy="886769"/>
          </a:xfrm>
          <a:prstGeom prst="roundRect">
            <a:avLst>
              <a:gd name="adj" fmla="val 8074"/>
            </a:avLst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 err="1"/>
              <a:t>im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456108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F8F9F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33" t="106" r="9406" b="4609"/>
          <a:stretch/>
        </p:blipFill>
        <p:spPr>
          <a:xfrm>
            <a:off x="1" y="453530"/>
            <a:ext cx="12183668" cy="6404268"/>
          </a:xfrm>
          <a:prstGeom prst="rect">
            <a:avLst/>
          </a:prstGeom>
        </p:spPr>
      </p:pic>
      <p:sp>
        <p:nvSpPr>
          <p:cNvPr id="28" name="TitleRectangle"/>
          <p:cNvSpPr txBox="1">
            <a:spLocks/>
          </p:cNvSpPr>
          <p:nvPr userDrawn="1"/>
        </p:nvSpPr>
        <p:spPr>
          <a:xfrm>
            <a:off x="2837962" y="-8516"/>
            <a:ext cx="9354039" cy="3648611"/>
          </a:xfrm>
          <a:prstGeom prst="rect">
            <a:avLst/>
          </a:prstGeom>
          <a:solidFill>
            <a:srgbClr val="002960">
              <a:alpha val="92000"/>
            </a:srgbClr>
          </a:solidFill>
        </p:spPr>
        <p:txBody>
          <a:bodyPr vert="horz" wrap="square" lIns="288000" tIns="1920000" rIns="288000" bIns="14400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spcAft>
                <a:spcPts val="6000"/>
              </a:spcAft>
              <a:buFont typeface="Arial" pitchFamily="34" charset="0"/>
              <a:buNone/>
              <a:defRPr sz="3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Wingdings" charset="2"/>
              <a:buNone/>
              <a:defRPr sz="14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Lucida Grande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4267" dirty="0">
                <a:solidFill>
                  <a:srgbClr val="00ADEF"/>
                </a:solidFill>
              </a:rPr>
              <a:t>
 </a:t>
            </a:r>
            <a:br>
              <a:rPr lang="en-US" sz="4267" dirty="0">
                <a:solidFill>
                  <a:srgbClr val="00ADEF"/>
                </a:solidFill>
              </a:rPr>
            </a:br>
            <a:endParaRPr lang="en-US" sz="4267" dirty="0">
              <a:solidFill>
                <a:srgbClr val="00ADEF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3085968" y="1463555"/>
            <a:ext cx="8478152" cy="656591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4267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085968" y="2876668"/>
            <a:ext cx="8478152" cy="28725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67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8" y="3225463"/>
            <a:ext cx="8478152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67" dirty="0">
                <a:solidFill>
                  <a:srgbClr val="FFFFFF"/>
                </a:solidFill>
                <a:latin typeface="Arial"/>
              </a:rPr>
              <a:t>Document type | Date</a:t>
            </a:r>
          </a:p>
        </p:txBody>
      </p:sp>
      <p:sp>
        <p:nvSpPr>
          <p:cNvPr id="27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8" y="6415502"/>
            <a:ext cx="4822213" cy="376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107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FFFFFF"/>
                </a:solidFill>
              </a:rPr>
              <a:t>CONFIDENTIAL AND PROPRIETARY</a:t>
            </a:r>
          </a:p>
          <a:p>
            <a:pPr defTabSz="107312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FFFFFF"/>
                </a:solidFill>
              </a:rPr>
              <a:t>Any use of this material without specific permission of McKinsey &amp; Company is strictly prohibited</a:t>
            </a:r>
          </a:p>
        </p:txBody>
      </p:sp>
      <p:sp>
        <p:nvSpPr>
          <p:cNvPr id="2" name="Working Draft Text" hidden="1"/>
          <p:cNvSpPr txBox="1"/>
          <p:nvPr userDrawn="1"/>
        </p:nvSpPr>
        <p:spPr>
          <a:xfrm>
            <a:off x="8034409" y="6349401"/>
            <a:ext cx="1366080" cy="25654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067" b="1">
                <a:solidFill>
                  <a:srgbClr val="FFFFFF"/>
                </a:solidFill>
              </a:rPr>
              <a:t>WORKING DRAFT</a:t>
            </a:r>
            <a:endParaRPr lang="ru-RU" sz="1067" b="1">
              <a:solidFill>
                <a:srgbClr val="FFFFFF"/>
              </a:solidFill>
            </a:endParaRPr>
          </a:p>
        </p:txBody>
      </p:sp>
      <p:sp>
        <p:nvSpPr>
          <p:cNvPr id="4" name="Working Draft" hidden="1"/>
          <p:cNvSpPr txBox="1"/>
          <p:nvPr userDrawn="1"/>
        </p:nvSpPr>
        <p:spPr>
          <a:xfrm>
            <a:off x="8034409" y="6478981"/>
            <a:ext cx="3805850" cy="25654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67">
                <a:solidFill>
                  <a:srgbClr val="FFFFFF"/>
                </a:solidFill>
              </a:rPr>
              <a:t>Last Modified 28/04/2017 17:22 Central Asia Standard Time</a:t>
            </a:r>
            <a:endParaRPr lang="ru-RU" sz="1067">
              <a:solidFill>
                <a:srgbClr val="FFFFFF"/>
              </a:solidFill>
            </a:endParaRPr>
          </a:p>
        </p:txBody>
      </p:sp>
      <p:sp>
        <p:nvSpPr>
          <p:cNvPr id="6" name="Printed" hidden="1"/>
          <p:cNvSpPr txBox="1"/>
          <p:nvPr userDrawn="1"/>
        </p:nvSpPr>
        <p:spPr>
          <a:xfrm>
            <a:off x="8034409" y="6608559"/>
            <a:ext cx="3275256" cy="256545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67">
                <a:solidFill>
                  <a:srgbClr val="FFFFFF"/>
                </a:solidFill>
              </a:rPr>
              <a:t>Printed 4-сәу-17 14:11 Central Asia Standard Time</a:t>
            </a:r>
            <a:endParaRPr lang="ru-RU" sz="1067">
              <a:solidFill>
                <a:srgbClr val="FFFFFF"/>
              </a:solidFill>
            </a:endParaRPr>
          </a:p>
        </p:txBody>
      </p:sp>
      <p:sp>
        <p:nvSpPr>
          <p:cNvPr id="5" name="doc id"/>
          <p:cNvSpPr txBox="1"/>
          <p:nvPr userDrawn="1"/>
        </p:nvSpPr>
        <p:spPr>
          <a:xfrm>
            <a:off x="11846371" y="64791"/>
            <a:ext cx="65" cy="164212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endParaRPr lang="ru-RU" sz="1067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48441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0008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1652053" y="6621167"/>
            <a:ext cx="165110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67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67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10170203" y="6621167"/>
            <a:ext cx="1344920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193770" fontAlgn="base">
              <a:spcBef>
                <a:spcPct val="0"/>
              </a:spcBef>
              <a:spcAft>
                <a:spcPct val="0"/>
              </a:spcAft>
            </a:pPr>
            <a:r>
              <a:rPr lang="en-US" sz="1067" dirty="0">
                <a:solidFill>
                  <a:srgbClr val="FFFFFF"/>
                </a:solidFill>
              </a:rPr>
              <a:t>McKinsey &amp; Company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white">
          <a:xfrm>
            <a:off x="11026103" y="37256"/>
            <a:ext cx="863528" cy="1182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1067" dirty="0">
              <a:solidFill>
                <a:srgbClr val="C5C5C5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30782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037029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114737-6F05-4294-8B41-FE17A53E4CA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02447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2877F8-FF1E-4A30-9FF8-DE9B60590FF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5305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7A099-55C8-4703-992D-DEB717CC0A4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287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B4EA7-4287-4636-B228-E36D516FBFD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7924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CBB762-1D22-4DDD-B358-C478FC034A3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733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D8FF1-FD41-483F-9782-91A584A823A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1508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839BDE-2721-44E5-A2B4-C1E51EEB003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1565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BA117F-B2B7-42F7-9F8A-54E0C2D62D6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4138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15.xml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4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24" Type="http://schemas.openxmlformats.org/officeDocument/2006/relationships/oleObject" Target="../embeddings/oleObject1.bin"/><Relationship Id="rId5" Type="http://schemas.openxmlformats.org/officeDocument/2006/relationships/theme" Target="../theme/theme2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C66BDC-6FE0-4866-B33B-4765772C177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12.2022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2DC3C-6E94-4CA3-936F-19E634A3C23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139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749" r:id="rId12"/>
    <p:sldLayoutId id="2147483750" r:id="rId13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6" y="234865"/>
            <a:ext cx="11725484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3"/>
            <a:ext cx="65562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67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6" y="566137"/>
            <a:ext cx="11725484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33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6" y="6396166"/>
            <a:ext cx="11725484" cy="369919"/>
            <a:chOff x="119063" y="6268828"/>
            <a:chExt cx="8618537" cy="36255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68828"/>
              <a:ext cx="8618537" cy="1609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67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470440"/>
              <a:ext cx="7200000" cy="1609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812780" indent="-812780" defTabSz="1193770" fontAlgn="base">
                <a:spcBef>
                  <a:spcPct val="0"/>
                </a:spcBef>
                <a:spcAft>
                  <a:spcPct val="0"/>
                </a:spcAft>
                <a:tabLst>
                  <a:tab pos="817013" algn="l"/>
                </a:tabLst>
              </a:pPr>
              <a:r>
                <a:rPr lang="en-US" sz="1067" dirty="0">
                  <a:solidFill>
                    <a:srgbClr val="808080"/>
                  </a:solidFill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08" y="1991016"/>
            <a:ext cx="5853024" cy="143629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126185"/>
            <a:ext cx="5801189" cy="675434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133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133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265043" y="291555"/>
            <a:ext cx="622414" cy="191912"/>
            <a:chOff x="8283284" y="285750"/>
            <a:chExt cx="457491" cy="1880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83284" y="285750"/>
              <a:ext cx="457491" cy="1880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067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83284" y="285750"/>
              <a:ext cx="0" cy="1880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83284" y="473841"/>
              <a:ext cx="457491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SlideBottomBar" hidden="1"/>
          <p:cNvSpPr/>
          <p:nvPr userDrawn="1"/>
        </p:nvSpPr>
        <p:spPr>
          <a:xfrm>
            <a:off x="11479249" y="6307691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133" dirty="0">
              <a:solidFill>
                <a:srgbClr val="000000"/>
              </a:solidFill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0214" y="285077"/>
            <a:ext cx="1028445" cy="1075530"/>
            <a:chOff x="7835905" y="279400"/>
            <a:chExt cx="755934" cy="1054119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4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1438" y="285076"/>
            <a:ext cx="1447443" cy="803414"/>
            <a:chOff x="7540629" y="279400"/>
            <a:chExt cx="1063909" cy="78742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133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69508" y="255920"/>
            <a:ext cx="1119156" cy="1378425"/>
            <a:chOff x="7769225" y="250825"/>
            <a:chExt cx="822609" cy="1350984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2133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1934" cy="2413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193770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16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5" name="Working Draft" hidden="1"/>
          <p:cNvSpPr txBox="1"/>
          <p:nvPr userDrawn="1"/>
        </p:nvSpPr>
        <p:spPr>
          <a:xfrm rot="5400000">
            <a:off x="10809812" y="2516524"/>
            <a:ext cx="2591592" cy="338554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808080"/>
                </a:solidFill>
              </a:rPr>
              <a:t>Last Modified 28/04/2017 17:22 Central Asia Standard Time</a:t>
            </a:r>
            <a:endParaRPr lang="ru-RU" sz="800">
              <a:solidFill>
                <a:srgbClr val="808080"/>
              </a:solidFill>
            </a:endParaRPr>
          </a:p>
        </p:txBody>
      </p:sp>
      <p:sp>
        <p:nvSpPr>
          <p:cNvPr id="7" name="Printed" hidden="1"/>
          <p:cNvSpPr txBox="1"/>
          <p:nvPr userDrawn="1"/>
        </p:nvSpPr>
        <p:spPr>
          <a:xfrm rot="5400000">
            <a:off x="11457711" y="4398663"/>
            <a:ext cx="1295796" cy="461665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>
                <a:solidFill>
                  <a:srgbClr val="808080"/>
                </a:solidFill>
              </a:rPr>
              <a:t>Printed 4-сәу-17 14:11 Central Asia Standard Time</a:t>
            </a:r>
            <a:endParaRPr lang="ru-RU" sz="800">
              <a:solidFill>
                <a:srgbClr val="808080"/>
              </a:solidFill>
            </a:endParaRPr>
          </a:p>
        </p:txBody>
      </p: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11748750" y="6584086"/>
            <a:ext cx="209993" cy="20512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42C328C1-A84F-4A39-A664-DBA00541A8C6}" type="slidenum">
              <a:rPr sz="1333">
                <a:solidFill>
                  <a:srgbClr val="808080"/>
                </a:solidFill>
              </a:rPr>
              <a:pPr/>
              <a:t>‹#›</a:t>
            </a:fld>
            <a:endParaRPr sz="1333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235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</p:sldLayoutIdLst>
  <p:hf sldNum="0" hdr="0" ftr="0" dt="0"/>
  <p:txStyles>
    <p:titleStyle>
      <a:lvl1pPr algn="l" defTabSz="1193770" rtl="0" eaLnBrk="1" fontAlgn="base" hangingPunct="1">
        <a:spcBef>
          <a:spcPct val="0"/>
        </a:spcBef>
        <a:spcAft>
          <a:spcPct val="0"/>
        </a:spcAft>
        <a:tabLst>
          <a:tab pos="359824" algn="l"/>
        </a:tabLst>
        <a:defRPr sz="2667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585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170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754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339" algn="l" defTabSz="119377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867" baseline="0">
          <a:solidFill>
            <a:schemeClr val="tx1"/>
          </a:solidFill>
          <a:latin typeface="+mn-lt"/>
          <a:ea typeface="+mn-ea"/>
          <a:cs typeface="+mn-cs"/>
        </a:defRPr>
      </a:lvl1pPr>
      <a:lvl2pPr marL="258227" indent="-256111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867" baseline="0">
          <a:solidFill>
            <a:schemeClr val="tx1"/>
          </a:solidFill>
          <a:latin typeface="+mn-lt"/>
        </a:defRPr>
      </a:lvl2pPr>
      <a:lvl3pPr marL="609585" indent="-34924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867" baseline="0">
          <a:solidFill>
            <a:schemeClr val="tx1"/>
          </a:solidFill>
          <a:latin typeface="+mn-lt"/>
        </a:defRPr>
      </a:lvl3pPr>
      <a:lvl4pPr marL="819130" indent="-207428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867" baseline="0">
          <a:solidFill>
            <a:schemeClr val="tx1"/>
          </a:solidFill>
          <a:latin typeface="+mn-lt"/>
        </a:defRPr>
      </a:lvl4pPr>
      <a:lvl5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867" baseline="0">
          <a:solidFill>
            <a:schemeClr val="tx1"/>
          </a:solidFill>
          <a:latin typeface="+mn-lt"/>
        </a:defRPr>
      </a:lvl5pPr>
      <a:lvl6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19" indent="-173562" algn="l" defTabSz="119377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1.jp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hyperlink" Target="https://www.google.ru/url?sa=i&amp;source=images&amp;cd=&amp;ved=2ahUKEwjEl7DayP3cAhUjQJoKHbLZB6wQjRx6BAgBEAU&amp;url=http://www.onlygfx.com/10-graduation-silhouette-png-transparent/&amp;psig=AOvVaw2S4tdgp4oQYxsKU4h82uVR&amp;ust=1534920951020939" TargetMode="External"/><Relationship Id="rId4" Type="http://schemas.openxmlformats.org/officeDocument/2006/relationships/image" Target="../media/image10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cbi.nlm.nih.gov/pubmed/23896789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4284356" y="2595765"/>
            <a:ext cx="751261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Повышение качества подготовки специалистов с высшим медицинским </a:t>
            </a:r>
            <a:r>
              <a:rPr lang="ru-RU" sz="2800" b="1" dirty="0" smtClean="0">
                <a:solidFill>
                  <a:srgbClr val="002060"/>
                </a:solidFill>
              </a:rPr>
              <a:t>образованием, </a:t>
            </a:r>
            <a:r>
              <a:rPr lang="ru-RU" sz="2800" b="1" dirty="0">
                <a:solidFill>
                  <a:srgbClr val="002060"/>
                </a:solidFill>
              </a:rPr>
              <a:t>востребованных на рынке труда</a:t>
            </a:r>
          </a:p>
        </p:txBody>
      </p:sp>
      <p:pic>
        <p:nvPicPr>
          <p:cNvPr id="71682" name="Picture 2" descr="Студенты-медики получат дополнительную выплату за помощь в борьбе с  коронавирусом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94778" y="2302799"/>
            <a:ext cx="3575704" cy="1988986"/>
          </a:xfrm>
          <a:prstGeom prst="rect">
            <a:avLst/>
          </a:prstGeom>
          <a:noFill/>
        </p:spPr>
      </p:pic>
      <p:sp>
        <p:nvSpPr>
          <p:cNvPr id="7" name="Текст 1"/>
          <p:cNvSpPr txBox="1">
            <a:spLocks/>
          </p:cNvSpPr>
          <p:nvPr/>
        </p:nvSpPr>
        <p:spPr>
          <a:xfrm>
            <a:off x="953180" y="5911101"/>
            <a:ext cx="10285640" cy="618434"/>
          </a:xfrm>
          <a:prstGeom prst="rect">
            <a:avLst/>
          </a:prstGeom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Arial" pitchFamily="34" charset="0"/>
              </a:rPr>
              <a:t>г. Астана</a:t>
            </a:r>
            <a:r>
              <a:rPr lang="ru-RU" sz="2000" b="1">
                <a:solidFill>
                  <a:srgbClr val="002060"/>
                </a:solidFill>
                <a:cs typeface="Arial" pitchFamily="34" charset="0"/>
              </a:rPr>
              <a:t>, </a:t>
            </a:r>
            <a:r>
              <a:rPr lang="ru-RU" sz="2000" b="1" smtClean="0">
                <a:solidFill>
                  <a:srgbClr val="002060"/>
                </a:solidFill>
                <a:cs typeface="Arial" pitchFamily="34" charset="0"/>
              </a:rPr>
              <a:t>26.12.2022 </a:t>
            </a:r>
            <a:r>
              <a:rPr lang="ru-RU" sz="2000" b="1" dirty="0">
                <a:solidFill>
                  <a:srgbClr val="002060"/>
                </a:solidFill>
                <a:cs typeface="Arial" pitchFamily="34" charset="0"/>
              </a:rPr>
              <a:t>г.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Arial" pitchFamily="34" charset="0"/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5826" y="92054"/>
            <a:ext cx="1535922" cy="1587118"/>
          </a:xfrm>
          <a:prstGeom prst="rect">
            <a:avLst/>
          </a:prstGeom>
        </p:spPr>
      </p:pic>
      <p:pic>
        <p:nvPicPr>
          <p:cNvPr id="2" name="Picture 19" descr="C:\Users\daurenbekov_a\Downloads\DENI SAU ŪLT logo 1.png">
            <a:extLst>
              <a:ext uri="{FF2B5EF4-FFF2-40B4-BE49-F238E27FC236}">
                <a16:creationId xmlns="" xmlns:a16="http://schemas.microsoft.com/office/drawing/2014/main" id="{6B5BD4B3-8A74-F127-0540-E8FFF5A6FF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08919" y="14514"/>
            <a:ext cx="1631690" cy="1587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06019A1A-B7FB-4729-A8FA-836EAEE73B06}"/>
              </a:ext>
            </a:extLst>
          </p:cNvPr>
          <p:cNvSpPr/>
          <p:nvPr/>
        </p:nvSpPr>
        <p:spPr>
          <a:xfrm>
            <a:off x="6415440" y="4778278"/>
            <a:ext cx="5381532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ru-RU" b="1" i="1" dirty="0">
                <a:solidFill>
                  <a:srgbClr val="002060"/>
                </a:solidFill>
                <a:latin typeface="Arial Narrow" panose="020B0606020202030204" pitchFamily="34" charset="0"/>
              </a:rPr>
              <a:t>Вице-министр здравоохранения РК</a:t>
            </a:r>
          </a:p>
          <a:p>
            <a:pPr algn="r">
              <a:defRPr/>
            </a:pPr>
            <a:r>
              <a:rPr lang="ru-RU" b="1" i="1" dirty="0">
                <a:solidFill>
                  <a:srgbClr val="002060"/>
                </a:solidFill>
                <a:latin typeface="Arial Narrow" panose="020B0606020202030204" pitchFamily="34" charset="0"/>
              </a:rPr>
              <a:t>Ж. </a:t>
            </a:r>
            <a:r>
              <a:rPr lang="ru-RU" b="1" i="1" dirty="0" err="1">
                <a:solidFill>
                  <a:srgbClr val="002060"/>
                </a:solidFill>
                <a:latin typeface="Arial Narrow" panose="020B0606020202030204" pitchFamily="34" charset="0"/>
              </a:rPr>
              <a:t>Буркитбаев</a:t>
            </a:r>
            <a:endParaRPr lang="ru-RU" b="1" i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Скругленный прямоугольник 9">
            <a:extLst>
              <a:ext uri="{FF2B5EF4-FFF2-40B4-BE49-F238E27FC236}">
                <a16:creationId xmlns="" xmlns:a16="http://schemas.microsoft.com/office/drawing/2014/main" id="{84B2C0FF-26F8-AD39-91F9-4E84764F612F}"/>
              </a:ext>
            </a:extLst>
          </p:cNvPr>
          <p:cNvSpPr/>
          <p:nvPr/>
        </p:nvSpPr>
        <p:spPr>
          <a:xfrm>
            <a:off x="1931159" y="200454"/>
            <a:ext cx="8313603" cy="796539"/>
          </a:xfrm>
          <a:prstGeom prst="roundRect">
            <a:avLst>
              <a:gd name="adj" fmla="val 50000"/>
            </a:avLst>
          </a:prstGeom>
          <a:solidFill>
            <a:srgbClr val="E7EAF3">
              <a:alpha val="46000"/>
            </a:srgbClr>
          </a:solidFill>
          <a:ln>
            <a:noFill/>
          </a:ln>
          <a:effectLst>
            <a:softEdge rad="139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2400" b="1" dirty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истерство здравоохранения Республики Казахстан</a:t>
            </a:r>
            <a:endParaRPr lang="ru-RU" b="1" dirty="0">
              <a:solidFill>
                <a:schemeClr val="accent4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69603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647E32DB-E0A6-4B6B-B113-84989F190714}"/>
              </a:ext>
            </a:extLst>
          </p:cNvPr>
          <p:cNvCxnSpPr>
            <a:cxnSpLocks/>
          </p:cNvCxnSpPr>
          <p:nvPr/>
        </p:nvCxnSpPr>
        <p:spPr>
          <a:xfrm>
            <a:off x="224287" y="820347"/>
            <a:ext cx="11880012" cy="1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151" y="18028"/>
            <a:ext cx="737547" cy="762131"/>
          </a:xfrm>
          <a:prstGeom prst="rect">
            <a:avLst/>
          </a:prstGeom>
        </p:spPr>
      </p:pic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7635915" y="10744200"/>
            <a:ext cx="4191001" cy="5769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1AE8220F-BF9B-101A-C51A-A46884595A95}"/>
              </a:ext>
            </a:extLst>
          </p:cNvPr>
          <p:cNvSpPr/>
          <p:nvPr/>
        </p:nvSpPr>
        <p:spPr>
          <a:xfrm>
            <a:off x="95677" y="188963"/>
            <a:ext cx="11880013" cy="420260"/>
          </a:xfrm>
          <a:prstGeom prst="rect">
            <a:avLst/>
          </a:prstGeom>
        </p:spPr>
        <p:txBody>
          <a:bodyPr wrap="square" lIns="80915" tIns="40458" rIns="80915" bIns="40458">
            <a:spAutoFit/>
          </a:bodyPr>
          <a:lstStyle/>
          <a:p>
            <a:pPr algn="ctr"/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Меры по дальнейшему повышению качества  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0579956"/>
              </p:ext>
            </p:extLst>
          </p:nvPr>
        </p:nvGraphicFramePr>
        <p:xfrm>
          <a:off x="443620" y="1070207"/>
          <a:ext cx="11532070" cy="522282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55882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973242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94455">
                <a:tc>
                  <a:txBody>
                    <a:bodyPr/>
                    <a:lstStyle/>
                    <a:p>
                      <a:pPr algn="ctr"/>
                      <a:r>
                        <a:rPr lang="ru-RU" sz="2200" b="1" kern="1200" dirty="0">
                          <a:solidFill>
                            <a:srgbClr val="002060"/>
                          </a:solidFill>
                          <a:latin typeface="+mn-lt"/>
                        </a:rPr>
                        <a:t>Задача: </a:t>
                      </a:r>
                      <a:endParaRPr lang="ru-RU" sz="2200" b="1" kern="1200" dirty="0">
                        <a:solidFill>
                          <a:srgbClr val="002060"/>
                        </a:solidFill>
                        <a:latin typeface="+mn-lt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b="1" kern="1200" dirty="0">
                          <a:solidFill>
                            <a:srgbClr val="002060"/>
                          </a:solidFill>
                          <a:latin typeface="+mn-lt"/>
                        </a:rPr>
                        <a:t>Предлагаемые пути решения:</a:t>
                      </a:r>
                      <a:endParaRPr lang="ru-RU" sz="2200" b="1" kern="1200" dirty="0">
                        <a:solidFill>
                          <a:srgbClr val="002060"/>
                        </a:solidFill>
                        <a:latin typeface="+mn-lt"/>
                        <a:ea typeface="+mj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687144">
                <a:tc>
                  <a:txBody>
                    <a:bodyPr/>
                    <a:lstStyle/>
                    <a:p>
                      <a:r>
                        <a:rPr lang="ru-RU" dirty="0">
                          <a:solidFill>
                            <a:schemeClr val="tx1"/>
                          </a:solidFill>
                          <a:latin typeface="+mn-lt"/>
                        </a:rPr>
                        <a:t>Обеспечение квалификационных требований к подготовке специалистов, в соответствии с требованиями к регулируемым профессиям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latin typeface="+mn-lt"/>
                        </a:rPr>
                        <a:t>В </a:t>
                      </a:r>
                      <a:r>
                        <a:rPr lang="ru-RU" sz="1800" b="1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лассификатор направлений </a:t>
                      </a:r>
                      <a:r>
                        <a:rPr lang="ru-RU" sz="18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одготовки кадров с высшим и послевузовским образованием (п</a:t>
                      </a:r>
                      <a:r>
                        <a:rPr lang="ru-RU" sz="18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иказ МОН РК от 13 октября 2018 года № 569) внести наименования регулируемых базовых специальностей</a:t>
                      </a:r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(</a:t>
                      </a:r>
                      <a:r>
                        <a:rPr lang="ru-RU" sz="1800" b="0" i="1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в</a:t>
                      </a:r>
                      <a:r>
                        <a:rPr lang="ru-RU" sz="1800" b="0" i="1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работе с </a:t>
                      </a:r>
                      <a:r>
                        <a:rPr lang="ru-RU" sz="1800" b="0" i="1" baseline="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НиВО</a:t>
                      </a:r>
                      <a:r>
                        <a:rPr lang="ru-RU" sz="1800" b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). </a:t>
                      </a: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0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Определить разные </a:t>
                      </a:r>
                      <a:r>
                        <a:rPr lang="ru-RU" sz="1800" b="1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валификационные требования </a:t>
                      </a:r>
                      <a:r>
                        <a:rPr lang="ru-RU" sz="1800" b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к </a:t>
                      </a:r>
                      <a:r>
                        <a:rPr lang="ru-RU" dirty="0">
                          <a:solidFill>
                            <a:schemeClr val="tx1"/>
                          </a:solidFill>
                          <a:latin typeface="+mn-lt"/>
                        </a:rPr>
                        <a:t>образовательной деятельности по направлениям подготовки кадров здравоохранения (</a:t>
                      </a:r>
                      <a:r>
                        <a:rPr lang="ru-RU" i="1" dirty="0">
                          <a:solidFill>
                            <a:schemeClr val="tx1"/>
                          </a:solidFill>
                          <a:latin typeface="+mn-lt"/>
                        </a:rPr>
                        <a:t>приказ Министра образования и науки Республики Казахстан от 17 июня 2015 года № 391</a:t>
                      </a:r>
                      <a:r>
                        <a:rPr lang="ru-RU" dirty="0">
                          <a:solidFill>
                            <a:schemeClr val="tx1"/>
                          </a:solidFill>
                          <a:latin typeface="+mn-lt"/>
                        </a:rPr>
                        <a:t>)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687144"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>
                          <a:solidFill>
                            <a:schemeClr val="tx1"/>
                          </a:solidFill>
                          <a:latin typeface="+mn-lt"/>
                        </a:rPr>
                        <a:t>В базовой 6-летней подготовке врачей (НИМО) около 1 года </a:t>
                      </a:r>
                      <a:r>
                        <a:rPr lang="ru-RU" b="1" dirty="0">
                          <a:solidFill>
                            <a:schemeClr val="tx1"/>
                          </a:solidFill>
                          <a:latin typeface="+mn-lt"/>
                        </a:rPr>
                        <a:t>(56 кредитов</a:t>
                      </a:r>
                      <a:r>
                        <a:rPr lang="ru-RU" dirty="0">
                          <a:solidFill>
                            <a:schemeClr val="tx1"/>
                          </a:solidFill>
                          <a:latin typeface="+mn-lt"/>
                        </a:rPr>
                        <a:t>) занимает дисциплины ООД, что согласно международному опыту чрезмерно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читывая компетенции выпускников программ непрерывного интегрированного медицинского образования, объем цикла </a:t>
                      </a:r>
                      <a:r>
                        <a:rPr lang="ru-RU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ОД</a:t>
                      </a: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редлагаем снизить до </a:t>
                      </a:r>
                      <a:r>
                        <a:rPr lang="ru-RU" sz="18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 академических кредитов</a:t>
                      </a:r>
                      <a:r>
                        <a:rPr lang="ru-RU" sz="18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ри подготовке</a:t>
                      </a:r>
                      <a:r>
                        <a:rPr lang="ru-RU" sz="18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врачей</a:t>
                      </a:r>
                      <a:endParaRPr lang="ru-RU" sz="18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8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1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34195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22743" y="1653364"/>
            <a:ext cx="10390123" cy="3801137"/>
          </a:xfrm>
        </p:spPr>
        <p:txBody>
          <a:bodyPr>
            <a:normAutofit fontScale="92500" lnSpcReduction="10000"/>
          </a:bodyPr>
          <a:lstStyle/>
          <a:p>
            <a:pPr marL="0" indent="0" algn="just">
              <a:buNone/>
            </a:pP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качества подготовки кадров здравоохранения через образовательные программы, соответствующие стандартам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мирной федерации медицинского образования </a:t>
            </a:r>
          </a:p>
          <a:p>
            <a:pPr marL="0" indent="0" algn="just">
              <a:buNone/>
            </a:pPr>
            <a:endParaRPr lang="ru-R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ого поколения медицинских работников</a:t>
            </a: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пособных оказывать современные качественные медицинские услуги</a:t>
            </a:r>
            <a:endParaRPr lang="ru-R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en-US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грация в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народное образовательное пространство</a:t>
            </a:r>
          </a:p>
          <a:p>
            <a:pPr marL="0" indent="0" algn="just">
              <a:buNone/>
            </a:pPr>
            <a:endParaRPr lang="ru-R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отрасли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валифицированными кадрами</a:t>
            </a:r>
          </a:p>
          <a:p>
            <a:pPr marL="0" indent="0" algn="just">
              <a:buNone/>
            </a:pPr>
            <a:endParaRPr lang="ru-RU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endParaRPr lang="ru-R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224287" y="139665"/>
            <a:ext cx="11519276" cy="661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839" tIns="60919" rIns="121839" bIns="60919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1218919"/>
            <a:r>
              <a:rPr lang="ru-RU" sz="2800" b="1" dirty="0">
                <a:solidFill>
                  <a:srgbClr val="002060"/>
                </a:solidFill>
              </a:rPr>
              <a:t>Ожидаемые результаты:</a:t>
            </a:r>
          </a:p>
        </p:txBody>
      </p:sp>
      <p:pic>
        <p:nvPicPr>
          <p:cNvPr id="10" name="Picture 6" descr="http://image.obmen.ru/img/files/putevk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416" y="4116583"/>
            <a:ext cx="341323" cy="34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 descr="http://image.obmen.ru/img/files/putevk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416" y="3118916"/>
            <a:ext cx="341323" cy="34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" descr="http://image.obmen.ru/img/files/putevki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1419" y="1724983"/>
            <a:ext cx="341323" cy="34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Прямая соединительная линия 8">
            <a:extLst>
              <a:ext uri="{FF2B5EF4-FFF2-40B4-BE49-F238E27FC236}">
                <a16:creationId xmlns="" xmlns:a16="http://schemas.microsoft.com/office/drawing/2014/main" id="{647E32DB-E0A6-4B6B-B113-84989F190714}"/>
              </a:ext>
            </a:extLst>
          </p:cNvPr>
          <p:cNvCxnSpPr>
            <a:cxnSpLocks/>
          </p:cNvCxnSpPr>
          <p:nvPr/>
        </p:nvCxnSpPr>
        <p:spPr>
          <a:xfrm>
            <a:off x="224287" y="820347"/>
            <a:ext cx="11880012" cy="1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151" y="18028"/>
            <a:ext cx="737547" cy="762131"/>
          </a:xfrm>
          <a:prstGeom prst="rect">
            <a:avLst/>
          </a:prstGeom>
        </p:spPr>
      </p:pic>
      <p:sp>
        <p:nvSpPr>
          <p:cNvPr id="14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11</a:t>
            </a:r>
            <a:endParaRPr lang="en-US" dirty="0"/>
          </a:p>
        </p:txBody>
      </p:sp>
      <p:pic>
        <p:nvPicPr>
          <p:cNvPr id="2" name="Picture 6" descr="http://image.obmen.ru/img/files/putevki.jpg">
            <a:extLst>
              <a:ext uri="{FF2B5EF4-FFF2-40B4-BE49-F238E27FC236}">
                <a16:creationId xmlns="" xmlns:a16="http://schemas.microsoft.com/office/drawing/2014/main" id="{4EF5289A-7B87-7FBE-0245-2B8611372C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159" y="4792768"/>
            <a:ext cx="341323" cy="34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187366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7" name="Title text slide"/>
          <p:cNvSpPr txBox="1"/>
          <p:nvPr/>
        </p:nvSpPr>
        <p:spPr>
          <a:xfrm>
            <a:off x="-643741" y="2845663"/>
            <a:ext cx="9738358" cy="152862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25400" tIns="25400" rIns="25400" bIns="25400" anchor="ctr">
            <a:spAutoFit/>
          </a:bodyPr>
          <a:lstStyle>
            <a:lvl1pPr algn="l">
              <a:defRPr sz="8000" b="0">
                <a:solidFill>
                  <a:srgbClr val="31333D"/>
                </a:solidFill>
                <a:latin typeface="Maven Pro Medium"/>
                <a:ea typeface="Maven Pro Medium"/>
                <a:cs typeface="Maven Pro Medium"/>
                <a:sym typeface="Maven Pro Medium"/>
              </a:defRPr>
            </a:lvl1pPr>
          </a:lstStyle>
          <a:p>
            <a:pPr indent="20638" algn="ctr"/>
            <a:r>
              <a:rPr lang="ru-RU" sz="4800" dirty="0">
                <a:solidFill>
                  <a:schemeClr val="tx2"/>
                </a:solidFill>
                <a:latin typeface="Montserrat ExtraBold" pitchFamily="2" charset="-52"/>
                <a:cs typeface="Times New Roman" panose="02020603050405020304" pitchFamily="18" charset="0"/>
              </a:rPr>
              <a:t>Благодарю </a:t>
            </a:r>
          </a:p>
          <a:p>
            <a:pPr indent="20638" algn="ctr"/>
            <a:r>
              <a:rPr lang="ru-RU" sz="4800" dirty="0">
                <a:solidFill>
                  <a:schemeClr val="tx2"/>
                </a:solidFill>
                <a:latin typeface="Montserrat ExtraBold" pitchFamily="2" charset="-52"/>
                <a:cs typeface="Times New Roman" panose="02020603050405020304" pitchFamily="18" charset="0"/>
              </a:rPr>
              <a:t>за внимание!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EB48BB5B-78CB-4FBF-B312-AE1FA3BD77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23638" y="1689578"/>
            <a:ext cx="925403" cy="956249"/>
          </a:xfrm>
          <a:prstGeom prst="rect">
            <a:avLst/>
          </a:prstGeom>
        </p:spPr>
      </p:pic>
      <p:pic>
        <p:nvPicPr>
          <p:cNvPr id="11" name="Picture 19" descr="C:\Users\daurenbekov_a\Downloads\DENI SAU ŪLT logo 1.png">
            <a:extLst>
              <a:ext uri="{FF2B5EF4-FFF2-40B4-BE49-F238E27FC236}">
                <a16:creationId xmlns="" xmlns:a16="http://schemas.microsoft.com/office/drawing/2014/main" id="{B11D8A9D-FD5E-4B90-9AAD-2FEB9DA2FB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6689" y="1689578"/>
            <a:ext cx="1002495" cy="975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C50F5ADB-BCED-4103-868D-0B5FFB1E534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69" r="28906"/>
          <a:stretch/>
        </p:blipFill>
        <p:spPr>
          <a:xfrm>
            <a:off x="7543800" y="0"/>
            <a:ext cx="4648200" cy="6858000"/>
          </a:xfrm>
          <a:prstGeom prst="parallelogram">
            <a:avLst/>
          </a:prstGeom>
        </p:spPr>
      </p:pic>
    </p:spTree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08846" y="142019"/>
            <a:ext cx="10350967" cy="401604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>
            <a:no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ea typeface="Pompiere"/>
                <a:cs typeface="Arial" panose="020B0604020202020204" pitchFamily="34" charset="0"/>
              </a:rPr>
              <a:t/>
            </a:r>
            <a:b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ea typeface="Pompiere"/>
                <a:cs typeface="Arial" panose="020B0604020202020204" pitchFamily="34" charset="0"/>
              </a:rPr>
            </a:b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ea typeface="Pompiere"/>
                <a:cs typeface="Arial" panose="020B0604020202020204" pitchFamily="34" charset="0"/>
              </a:rPr>
              <a:t>Организации образования и науки в области здравоохранения </a:t>
            </a:r>
            <a:b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ea typeface="Pompiere"/>
                <a:cs typeface="Arial" panose="020B0604020202020204" pitchFamily="34" charset="0"/>
              </a:rPr>
            </a:br>
            <a:endParaRPr lang="ru-RU" sz="24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321524" y="951372"/>
            <a:ext cx="3655360" cy="338554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>
            <a:spAutoFit/>
          </a:bodyPr>
          <a:lstStyle/>
          <a:p>
            <a:pPr algn="ctr"/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" panose="02000000000000000000" pitchFamily="2" charset="0"/>
              </a:rPr>
              <a:t>МЕДИЦИНСКИЕ </a:t>
            </a: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" panose="02000000000000000000" pitchFamily="2" charset="0"/>
              </a:rPr>
              <a:t>ВУЗЫ</a:t>
            </a: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Roboto Condensed" panose="02000000000000000000" pitchFamily="2" charset="0"/>
              </a:rPr>
              <a:t>, НИИ и НЦ </a:t>
            </a:r>
            <a:endParaRPr lang="ru-RU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96271" y="1903658"/>
            <a:ext cx="6096000" cy="170816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defTabSz="2506071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Высших учебных заведений (15):</a:t>
            </a:r>
          </a:p>
          <a:p>
            <a:pPr marL="546100" indent="-285750" defTabSz="2506071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20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5</a:t>
            </a:r>
            <a:r>
              <a:rPr lang="ru-RU" sz="2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ВУЗов, подведомственных МЗ РК</a:t>
            </a:r>
          </a:p>
          <a:p>
            <a:pPr marL="546100" indent="-285750" defTabSz="2506071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2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3 негосударственных ВУЗа</a:t>
            </a:r>
          </a:p>
          <a:p>
            <a:pPr marL="546100" indent="-285750" defTabSz="2506071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20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7 </a:t>
            </a:r>
            <a:r>
              <a:rPr lang="ru-RU" sz="2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факультетов в составе многопрофильных университетов</a:t>
            </a:r>
            <a:endParaRPr lang="ru-RU" sz="20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21119" y="3986435"/>
            <a:ext cx="6096000" cy="1631216"/>
          </a:xfrm>
          <a:prstGeom prst="rect">
            <a:avLst/>
          </a:prstGeom>
        </p:spPr>
        <p:txBody>
          <a:bodyPr>
            <a:spAutoFit/>
          </a:bodyPr>
          <a:lstStyle/>
          <a:p>
            <a:pPr marL="546100" indent="-285750" defTabSz="2506071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Национальные центры, НИИ, реализующие программы резидентуры (14):</a:t>
            </a:r>
          </a:p>
          <a:p>
            <a:pPr marL="990600" lvl="1" indent="-285750" defTabSz="2506071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20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11 </a:t>
            </a:r>
            <a:r>
              <a:rPr lang="ru-RU" sz="2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НИИ, НЦ, подведомственных МЗ РК</a:t>
            </a:r>
          </a:p>
          <a:p>
            <a:pPr marL="990600" lvl="1" indent="-285750" defTabSz="2506071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2000" b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3 </a:t>
            </a:r>
            <a:r>
              <a:rPr lang="ru-RU" sz="2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негосударственных НИИ, НЦ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6873997" y="912144"/>
            <a:ext cx="4490653" cy="338554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>
            <a:spAutoFit/>
          </a:bodyPr>
          <a:lstStyle/>
          <a:p>
            <a:pPr algn="ctr"/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ИЙ КОНТИНГЕНТ / ВЫПУСК 2022 г. </a:t>
            </a:r>
            <a:endParaRPr lang="ru-RU" sz="1600" dirty="0">
              <a:solidFill>
                <a:schemeClr val="accent5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олилиния: фигура 6">
            <a:extLst>
              <a:ext uri="{FF2B5EF4-FFF2-40B4-BE49-F238E27FC236}">
                <a16:creationId xmlns="" xmlns:a16="http://schemas.microsoft.com/office/drawing/2014/main" id="{6EDDF004-F236-2423-1D7E-8D8F147CD3BF}"/>
              </a:ext>
            </a:extLst>
          </p:cNvPr>
          <p:cNvSpPr/>
          <p:nvPr/>
        </p:nvSpPr>
        <p:spPr>
          <a:xfrm>
            <a:off x="303641" y="890984"/>
            <a:ext cx="6217511" cy="480705"/>
          </a:xfrm>
          <a:custGeom>
            <a:avLst/>
            <a:gdLst>
              <a:gd name="connsiteX0" fmla="*/ 253618 w 4422628"/>
              <a:gd name="connsiteY0" fmla="*/ 0 h 512062"/>
              <a:gd name="connsiteX1" fmla="*/ 1215643 w 4422628"/>
              <a:gd name="connsiteY1" fmla="*/ 0 h 512062"/>
              <a:gd name="connsiteX2" fmla="*/ 1322829 w 4422628"/>
              <a:gd name="connsiteY2" fmla="*/ 0 h 512062"/>
              <a:gd name="connsiteX3" fmla="*/ 2284855 w 4422628"/>
              <a:gd name="connsiteY3" fmla="*/ 0 h 512062"/>
              <a:gd name="connsiteX4" fmla="*/ 2307462 w 4422628"/>
              <a:gd name="connsiteY4" fmla="*/ 2301 h 512062"/>
              <a:gd name="connsiteX5" fmla="*/ 2330068 w 4422628"/>
              <a:gd name="connsiteY5" fmla="*/ 0 h 512062"/>
              <a:gd name="connsiteX6" fmla="*/ 3099798 w 4422628"/>
              <a:gd name="connsiteY6" fmla="*/ 0 h 512062"/>
              <a:gd name="connsiteX7" fmla="*/ 3399280 w 4422628"/>
              <a:gd name="connsiteY7" fmla="*/ 0 h 512062"/>
              <a:gd name="connsiteX8" fmla="*/ 4169010 w 4422628"/>
              <a:gd name="connsiteY8" fmla="*/ 0 h 512062"/>
              <a:gd name="connsiteX9" fmla="*/ 4422628 w 4422628"/>
              <a:gd name="connsiteY9" fmla="*/ 256031 h 512062"/>
              <a:gd name="connsiteX10" fmla="*/ 4169010 w 4422628"/>
              <a:gd name="connsiteY10" fmla="*/ 512062 h 512062"/>
              <a:gd name="connsiteX11" fmla="*/ 3399280 w 4422628"/>
              <a:gd name="connsiteY11" fmla="*/ 512062 h 512062"/>
              <a:gd name="connsiteX12" fmla="*/ 3099798 w 4422628"/>
              <a:gd name="connsiteY12" fmla="*/ 512062 h 512062"/>
              <a:gd name="connsiteX13" fmla="*/ 2330068 w 4422628"/>
              <a:gd name="connsiteY13" fmla="*/ 512062 h 512062"/>
              <a:gd name="connsiteX14" fmla="*/ 2307462 w 4422628"/>
              <a:gd name="connsiteY14" fmla="*/ 509761 h 512062"/>
              <a:gd name="connsiteX15" fmla="*/ 2284855 w 4422628"/>
              <a:gd name="connsiteY15" fmla="*/ 512062 h 512062"/>
              <a:gd name="connsiteX16" fmla="*/ 1322829 w 4422628"/>
              <a:gd name="connsiteY16" fmla="*/ 512062 h 512062"/>
              <a:gd name="connsiteX17" fmla="*/ 1215643 w 4422628"/>
              <a:gd name="connsiteY17" fmla="*/ 512062 h 512062"/>
              <a:gd name="connsiteX18" fmla="*/ 253618 w 4422628"/>
              <a:gd name="connsiteY18" fmla="*/ 512062 h 512062"/>
              <a:gd name="connsiteX19" fmla="*/ 0 w 4422628"/>
              <a:gd name="connsiteY19" fmla="*/ 256031 h 512062"/>
              <a:gd name="connsiteX20" fmla="*/ 253618 w 4422628"/>
              <a:gd name="connsiteY20" fmla="*/ 0 h 51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422628" h="512062">
                <a:moveTo>
                  <a:pt x="253618" y="0"/>
                </a:moveTo>
                <a:lnTo>
                  <a:pt x="1215643" y="0"/>
                </a:lnTo>
                <a:lnTo>
                  <a:pt x="1322829" y="0"/>
                </a:lnTo>
                <a:lnTo>
                  <a:pt x="2284855" y="0"/>
                </a:lnTo>
                <a:lnTo>
                  <a:pt x="2307462" y="2301"/>
                </a:lnTo>
                <a:lnTo>
                  <a:pt x="2330068" y="0"/>
                </a:lnTo>
                <a:lnTo>
                  <a:pt x="3099798" y="0"/>
                </a:lnTo>
                <a:lnTo>
                  <a:pt x="3399280" y="0"/>
                </a:lnTo>
                <a:lnTo>
                  <a:pt x="4169010" y="0"/>
                </a:lnTo>
                <a:cubicBezTo>
                  <a:pt x="4309065" y="0"/>
                  <a:pt x="4422628" y="114621"/>
                  <a:pt x="4422628" y="256031"/>
                </a:cubicBezTo>
                <a:cubicBezTo>
                  <a:pt x="4422628" y="397441"/>
                  <a:pt x="4309065" y="512062"/>
                  <a:pt x="4169010" y="512062"/>
                </a:cubicBezTo>
                <a:lnTo>
                  <a:pt x="3399280" y="512062"/>
                </a:lnTo>
                <a:lnTo>
                  <a:pt x="3099798" y="512062"/>
                </a:lnTo>
                <a:lnTo>
                  <a:pt x="2330068" y="512062"/>
                </a:lnTo>
                <a:lnTo>
                  <a:pt x="2307462" y="509761"/>
                </a:lnTo>
                <a:lnTo>
                  <a:pt x="2284855" y="512062"/>
                </a:lnTo>
                <a:lnTo>
                  <a:pt x="1322829" y="512062"/>
                </a:lnTo>
                <a:lnTo>
                  <a:pt x="1215643" y="512062"/>
                </a:lnTo>
                <a:lnTo>
                  <a:pt x="253618" y="512062"/>
                </a:lnTo>
                <a:cubicBezTo>
                  <a:pt x="113562" y="512062"/>
                  <a:pt x="0" y="397441"/>
                  <a:pt x="0" y="256031"/>
                </a:cubicBezTo>
                <a:cubicBezTo>
                  <a:pt x="0" y="114621"/>
                  <a:pt x="113562" y="0"/>
                  <a:pt x="253618" y="0"/>
                </a:cubicBezTo>
                <a:close/>
              </a:path>
            </a:pathLst>
          </a:custGeom>
          <a:noFill/>
          <a:ln>
            <a:solidFill>
              <a:schemeClr val="accent1">
                <a:lumMod val="40000"/>
                <a:lumOff val="6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x-none" sz="16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7044057" y="1687756"/>
            <a:ext cx="3997520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kk-KZ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Бакалавриат 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– </a:t>
            </a: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47 552 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/ </a:t>
            </a:r>
            <a:r>
              <a:rPr lang="kk-KZ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401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Интернатура – </a:t>
            </a: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9 133 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/ </a:t>
            </a:r>
            <a:r>
              <a:rPr lang="kk-KZ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4 423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Резидентура – </a:t>
            </a: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5 946 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/ </a:t>
            </a:r>
            <a:r>
              <a:rPr lang="kk-KZ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 111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агистратура – </a:t>
            </a: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617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/ </a:t>
            </a:r>
            <a:r>
              <a:rPr lang="kk-KZ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372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Докторантура – </a:t>
            </a: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473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/ </a:t>
            </a:r>
            <a:r>
              <a:rPr lang="kk-KZ" dirty="0">
                <a:solidFill>
                  <a:srgbClr val="0070C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143</a:t>
            </a:r>
          </a:p>
        </p:txBody>
      </p:sp>
      <p:sp>
        <p:nvSpPr>
          <p:cNvPr id="33" name="Полилиния: фигура 6">
            <a:extLst>
              <a:ext uri="{FF2B5EF4-FFF2-40B4-BE49-F238E27FC236}">
                <a16:creationId xmlns="" xmlns:a16="http://schemas.microsoft.com/office/drawing/2014/main" id="{6EDDF004-F236-2423-1D7E-8D8F147CD3BF}"/>
              </a:ext>
            </a:extLst>
          </p:cNvPr>
          <p:cNvSpPr/>
          <p:nvPr/>
        </p:nvSpPr>
        <p:spPr>
          <a:xfrm>
            <a:off x="6781058" y="903362"/>
            <a:ext cx="5127914" cy="480705"/>
          </a:xfrm>
          <a:custGeom>
            <a:avLst/>
            <a:gdLst>
              <a:gd name="connsiteX0" fmla="*/ 253618 w 4422628"/>
              <a:gd name="connsiteY0" fmla="*/ 0 h 512062"/>
              <a:gd name="connsiteX1" fmla="*/ 1215643 w 4422628"/>
              <a:gd name="connsiteY1" fmla="*/ 0 h 512062"/>
              <a:gd name="connsiteX2" fmla="*/ 1322829 w 4422628"/>
              <a:gd name="connsiteY2" fmla="*/ 0 h 512062"/>
              <a:gd name="connsiteX3" fmla="*/ 2284855 w 4422628"/>
              <a:gd name="connsiteY3" fmla="*/ 0 h 512062"/>
              <a:gd name="connsiteX4" fmla="*/ 2307462 w 4422628"/>
              <a:gd name="connsiteY4" fmla="*/ 2301 h 512062"/>
              <a:gd name="connsiteX5" fmla="*/ 2330068 w 4422628"/>
              <a:gd name="connsiteY5" fmla="*/ 0 h 512062"/>
              <a:gd name="connsiteX6" fmla="*/ 3099798 w 4422628"/>
              <a:gd name="connsiteY6" fmla="*/ 0 h 512062"/>
              <a:gd name="connsiteX7" fmla="*/ 3399280 w 4422628"/>
              <a:gd name="connsiteY7" fmla="*/ 0 h 512062"/>
              <a:gd name="connsiteX8" fmla="*/ 4169010 w 4422628"/>
              <a:gd name="connsiteY8" fmla="*/ 0 h 512062"/>
              <a:gd name="connsiteX9" fmla="*/ 4422628 w 4422628"/>
              <a:gd name="connsiteY9" fmla="*/ 256031 h 512062"/>
              <a:gd name="connsiteX10" fmla="*/ 4169010 w 4422628"/>
              <a:gd name="connsiteY10" fmla="*/ 512062 h 512062"/>
              <a:gd name="connsiteX11" fmla="*/ 3399280 w 4422628"/>
              <a:gd name="connsiteY11" fmla="*/ 512062 h 512062"/>
              <a:gd name="connsiteX12" fmla="*/ 3099798 w 4422628"/>
              <a:gd name="connsiteY12" fmla="*/ 512062 h 512062"/>
              <a:gd name="connsiteX13" fmla="*/ 2330068 w 4422628"/>
              <a:gd name="connsiteY13" fmla="*/ 512062 h 512062"/>
              <a:gd name="connsiteX14" fmla="*/ 2307462 w 4422628"/>
              <a:gd name="connsiteY14" fmla="*/ 509761 h 512062"/>
              <a:gd name="connsiteX15" fmla="*/ 2284855 w 4422628"/>
              <a:gd name="connsiteY15" fmla="*/ 512062 h 512062"/>
              <a:gd name="connsiteX16" fmla="*/ 1322829 w 4422628"/>
              <a:gd name="connsiteY16" fmla="*/ 512062 h 512062"/>
              <a:gd name="connsiteX17" fmla="*/ 1215643 w 4422628"/>
              <a:gd name="connsiteY17" fmla="*/ 512062 h 512062"/>
              <a:gd name="connsiteX18" fmla="*/ 253618 w 4422628"/>
              <a:gd name="connsiteY18" fmla="*/ 512062 h 512062"/>
              <a:gd name="connsiteX19" fmla="*/ 0 w 4422628"/>
              <a:gd name="connsiteY19" fmla="*/ 256031 h 512062"/>
              <a:gd name="connsiteX20" fmla="*/ 253618 w 4422628"/>
              <a:gd name="connsiteY20" fmla="*/ 0 h 51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422628" h="512062">
                <a:moveTo>
                  <a:pt x="253618" y="0"/>
                </a:moveTo>
                <a:lnTo>
                  <a:pt x="1215643" y="0"/>
                </a:lnTo>
                <a:lnTo>
                  <a:pt x="1322829" y="0"/>
                </a:lnTo>
                <a:lnTo>
                  <a:pt x="2284855" y="0"/>
                </a:lnTo>
                <a:lnTo>
                  <a:pt x="2307462" y="2301"/>
                </a:lnTo>
                <a:lnTo>
                  <a:pt x="2330068" y="0"/>
                </a:lnTo>
                <a:lnTo>
                  <a:pt x="3099798" y="0"/>
                </a:lnTo>
                <a:lnTo>
                  <a:pt x="3399280" y="0"/>
                </a:lnTo>
                <a:lnTo>
                  <a:pt x="4169010" y="0"/>
                </a:lnTo>
                <a:cubicBezTo>
                  <a:pt x="4309065" y="0"/>
                  <a:pt x="4422628" y="114621"/>
                  <a:pt x="4422628" y="256031"/>
                </a:cubicBezTo>
                <a:cubicBezTo>
                  <a:pt x="4422628" y="397441"/>
                  <a:pt x="4309065" y="512062"/>
                  <a:pt x="4169010" y="512062"/>
                </a:cubicBezTo>
                <a:lnTo>
                  <a:pt x="3399280" y="512062"/>
                </a:lnTo>
                <a:lnTo>
                  <a:pt x="3099798" y="512062"/>
                </a:lnTo>
                <a:lnTo>
                  <a:pt x="2330068" y="512062"/>
                </a:lnTo>
                <a:lnTo>
                  <a:pt x="2307462" y="509761"/>
                </a:lnTo>
                <a:lnTo>
                  <a:pt x="2284855" y="512062"/>
                </a:lnTo>
                <a:lnTo>
                  <a:pt x="1322829" y="512062"/>
                </a:lnTo>
                <a:lnTo>
                  <a:pt x="1215643" y="512062"/>
                </a:lnTo>
                <a:lnTo>
                  <a:pt x="253618" y="512062"/>
                </a:lnTo>
                <a:cubicBezTo>
                  <a:pt x="113562" y="512062"/>
                  <a:pt x="0" y="397441"/>
                  <a:pt x="0" y="256031"/>
                </a:cubicBezTo>
                <a:cubicBezTo>
                  <a:pt x="0" y="114621"/>
                  <a:pt x="113562" y="0"/>
                  <a:pt x="253618" y="0"/>
                </a:cubicBezTo>
                <a:close/>
              </a:path>
            </a:pathLst>
          </a:custGeom>
          <a:noFill/>
          <a:ln>
            <a:solidFill>
              <a:schemeClr val="accent3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x-none" sz="16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6980442" y="3788687"/>
            <a:ext cx="2269404" cy="523220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none">
            <a:spAutoFit/>
          </a:bodyPr>
          <a:lstStyle/>
          <a:p>
            <a:r>
              <a:rPr lang="ru-RU" sz="2800" b="1" dirty="0">
                <a:solidFill>
                  <a:srgbClr val="0070C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b="1" dirty="0">
                <a:solidFill>
                  <a:srgbClr val="0070C0"/>
                </a:solidFill>
                <a:latin typeface="Arial" panose="020B0604020202020204" pitchFamily="34" charset="0"/>
                <a:ea typeface="Roboto Condensed" panose="02000000000000000000" pitchFamily="2" charset="0"/>
              </a:rPr>
              <a:t>СРОК ОБУЧЕНИЯ</a:t>
            </a:r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044057" y="4463784"/>
            <a:ext cx="4622099" cy="21185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k-KZ" sz="1800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Бакалавриат </a:t>
            </a:r>
            <a:r>
              <a:rPr lang="kk-KZ" sz="18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– 4 - 5 лет</a:t>
            </a:r>
          </a:p>
          <a:p>
            <a:pPr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k-KZ" sz="18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Интернатура – 1 - 2 года</a:t>
            </a:r>
          </a:p>
          <a:p>
            <a:pPr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k-KZ" sz="18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Резидентура – </a:t>
            </a:r>
            <a:r>
              <a:rPr lang="kk-KZ" sz="1800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2-</a:t>
            </a:r>
            <a:r>
              <a:rPr lang="en-US" sz="1800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4</a:t>
            </a:r>
            <a:r>
              <a:rPr lang="kk-KZ" sz="1800" dirty="0" smtClean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kk-KZ" sz="18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года</a:t>
            </a:r>
          </a:p>
          <a:p>
            <a:pPr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k-KZ" sz="18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агистратура – 1-1,5-2 года</a:t>
            </a:r>
          </a:p>
          <a:p>
            <a:pPr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kk-KZ" sz="18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Докторантура – 3 года</a:t>
            </a:r>
            <a:endParaRPr lang="kk-KZ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43" name="Полилиния: фигура 98">
            <a:extLst>
              <a:ext uri="{FF2B5EF4-FFF2-40B4-BE49-F238E27FC236}">
                <a16:creationId xmlns="" xmlns:a16="http://schemas.microsoft.com/office/drawing/2014/main" id="{DB65BFF5-89DC-DD12-EBA9-165EC40E0124}"/>
              </a:ext>
            </a:extLst>
          </p:cNvPr>
          <p:cNvSpPr/>
          <p:nvPr/>
        </p:nvSpPr>
        <p:spPr>
          <a:xfrm>
            <a:off x="221119" y="2220687"/>
            <a:ext cx="275152" cy="719243"/>
          </a:xfrm>
          <a:custGeom>
            <a:avLst/>
            <a:gdLst>
              <a:gd name="connsiteX0" fmla="*/ 212663 w 215920"/>
              <a:gd name="connsiteY0" fmla="*/ 131216 h 279399"/>
              <a:gd name="connsiteX1" fmla="*/ 98363 w 215920"/>
              <a:gd name="connsiteY1" fmla="*/ 4216 h 279399"/>
              <a:gd name="connsiteX2" fmla="*/ 88914 w 215920"/>
              <a:gd name="connsiteY2" fmla="*/ 0 h 279399"/>
              <a:gd name="connsiteX3" fmla="*/ 12714 w 215920"/>
              <a:gd name="connsiteY3" fmla="*/ 0 h 279399"/>
              <a:gd name="connsiteX4" fmla="*/ 1106 w 215920"/>
              <a:gd name="connsiteY4" fmla="*/ 7518 h 279399"/>
              <a:gd name="connsiteX5" fmla="*/ 3265 w 215920"/>
              <a:gd name="connsiteY5" fmla="*/ 21184 h 279399"/>
              <a:gd name="connsiteX6" fmla="*/ 109920 w 215920"/>
              <a:gd name="connsiteY6" fmla="*/ 139700 h 279399"/>
              <a:gd name="connsiteX7" fmla="*/ 3265 w 215920"/>
              <a:gd name="connsiteY7" fmla="*/ 258190 h 279399"/>
              <a:gd name="connsiteX8" fmla="*/ 1106 w 215920"/>
              <a:gd name="connsiteY8" fmla="*/ 271856 h 279399"/>
              <a:gd name="connsiteX9" fmla="*/ 12714 w 215920"/>
              <a:gd name="connsiteY9" fmla="*/ 279399 h 279399"/>
              <a:gd name="connsiteX10" fmla="*/ 88914 w 215920"/>
              <a:gd name="connsiteY10" fmla="*/ 279399 h 279399"/>
              <a:gd name="connsiteX11" fmla="*/ 98363 w 215920"/>
              <a:gd name="connsiteY11" fmla="*/ 275208 h 279399"/>
              <a:gd name="connsiteX12" fmla="*/ 212663 w 215920"/>
              <a:gd name="connsiteY12" fmla="*/ 148209 h 279399"/>
              <a:gd name="connsiteX13" fmla="*/ 212663 w 215920"/>
              <a:gd name="connsiteY13" fmla="*/ 131216 h 279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15920" h="279399">
                <a:moveTo>
                  <a:pt x="212663" y="131216"/>
                </a:moveTo>
                <a:lnTo>
                  <a:pt x="98363" y="4216"/>
                </a:lnTo>
                <a:cubicBezTo>
                  <a:pt x="95924" y="1524"/>
                  <a:pt x="92521" y="0"/>
                  <a:pt x="88914" y="0"/>
                </a:cubicBezTo>
                <a:lnTo>
                  <a:pt x="12714" y="0"/>
                </a:lnTo>
                <a:cubicBezTo>
                  <a:pt x="7710" y="0"/>
                  <a:pt x="3164" y="2946"/>
                  <a:pt x="1106" y="7518"/>
                </a:cubicBezTo>
                <a:cubicBezTo>
                  <a:pt x="-926" y="12116"/>
                  <a:pt x="-87" y="17475"/>
                  <a:pt x="3265" y="21184"/>
                </a:cubicBezTo>
                <a:lnTo>
                  <a:pt x="109920" y="139700"/>
                </a:lnTo>
                <a:lnTo>
                  <a:pt x="3265" y="258190"/>
                </a:lnTo>
                <a:cubicBezTo>
                  <a:pt x="-87" y="261924"/>
                  <a:pt x="-951" y="267284"/>
                  <a:pt x="1106" y="271856"/>
                </a:cubicBezTo>
                <a:cubicBezTo>
                  <a:pt x="3164" y="276453"/>
                  <a:pt x="7710" y="279399"/>
                  <a:pt x="12714" y="279399"/>
                </a:cubicBezTo>
                <a:lnTo>
                  <a:pt x="88914" y="279399"/>
                </a:lnTo>
                <a:cubicBezTo>
                  <a:pt x="92521" y="279399"/>
                  <a:pt x="95924" y="277850"/>
                  <a:pt x="98363" y="275208"/>
                </a:cubicBezTo>
                <a:lnTo>
                  <a:pt x="212663" y="148209"/>
                </a:lnTo>
                <a:cubicBezTo>
                  <a:pt x="217006" y="143383"/>
                  <a:pt x="217006" y="136017"/>
                  <a:pt x="212663" y="131216"/>
                </a:cubicBezTo>
                <a:close/>
              </a:path>
            </a:pathLst>
          </a:custGeom>
          <a:solidFill>
            <a:srgbClr val="019CF7"/>
          </a:solidFill>
          <a:ln w="774" cap="flat">
            <a:noFill/>
            <a:prstDash val="solid"/>
            <a:miter/>
          </a:ln>
        </p:spPr>
        <p:txBody>
          <a:bodyPr rtlCol="0" anchor="ctr"/>
          <a:lstStyle/>
          <a:p>
            <a:endParaRPr lang="x-none" sz="1200" dirty="0"/>
          </a:p>
        </p:txBody>
      </p:sp>
      <p:sp>
        <p:nvSpPr>
          <p:cNvPr id="44" name="Полилиния: фигура 98">
            <a:extLst>
              <a:ext uri="{FF2B5EF4-FFF2-40B4-BE49-F238E27FC236}">
                <a16:creationId xmlns="" xmlns:a16="http://schemas.microsoft.com/office/drawing/2014/main" id="{DB65BFF5-89DC-DD12-EBA9-165EC40E0124}"/>
              </a:ext>
            </a:extLst>
          </p:cNvPr>
          <p:cNvSpPr/>
          <p:nvPr/>
        </p:nvSpPr>
        <p:spPr>
          <a:xfrm>
            <a:off x="268636" y="4257090"/>
            <a:ext cx="275152" cy="719243"/>
          </a:xfrm>
          <a:custGeom>
            <a:avLst/>
            <a:gdLst>
              <a:gd name="connsiteX0" fmla="*/ 212663 w 215920"/>
              <a:gd name="connsiteY0" fmla="*/ 131216 h 279399"/>
              <a:gd name="connsiteX1" fmla="*/ 98363 w 215920"/>
              <a:gd name="connsiteY1" fmla="*/ 4216 h 279399"/>
              <a:gd name="connsiteX2" fmla="*/ 88914 w 215920"/>
              <a:gd name="connsiteY2" fmla="*/ 0 h 279399"/>
              <a:gd name="connsiteX3" fmla="*/ 12714 w 215920"/>
              <a:gd name="connsiteY3" fmla="*/ 0 h 279399"/>
              <a:gd name="connsiteX4" fmla="*/ 1106 w 215920"/>
              <a:gd name="connsiteY4" fmla="*/ 7518 h 279399"/>
              <a:gd name="connsiteX5" fmla="*/ 3265 w 215920"/>
              <a:gd name="connsiteY5" fmla="*/ 21184 h 279399"/>
              <a:gd name="connsiteX6" fmla="*/ 109920 w 215920"/>
              <a:gd name="connsiteY6" fmla="*/ 139700 h 279399"/>
              <a:gd name="connsiteX7" fmla="*/ 3265 w 215920"/>
              <a:gd name="connsiteY7" fmla="*/ 258190 h 279399"/>
              <a:gd name="connsiteX8" fmla="*/ 1106 w 215920"/>
              <a:gd name="connsiteY8" fmla="*/ 271856 h 279399"/>
              <a:gd name="connsiteX9" fmla="*/ 12714 w 215920"/>
              <a:gd name="connsiteY9" fmla="*/ 279399 h 279399"/>
              <a:gd name="connsiteX10" fmla="*/ 88914 w 215920"/>
              <a:gd name="connsiteY10" fmla="*/ 279399 h 279399"/>
              <a:gd name="connsiteX11" fmla="*/ 98363 w 215920"/>
              <a:gd name="connsiteY11" fmla="*/ 275208 h 279399"/>
              <a:gd name="connsiteX12" fmla="*/ 212663 w 215920"/>
              <a:gd name="connsiteY12" fmla="*/ 148209 h 279399"/>
              <a:gd name="connsiteX13" fmla="*/ 212663 w 215920"/>
              <a:gd name="connsiteY13" fmla="*/ 131216 h 279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15920" h="279399">
                <a:moveTo>
                  <a:pt x="212663" y="131216"/>
                </a:moveTo>
                <a:lnTo>
                  <a:pt x="98363" y="4216"/>
                </a:lnTo>
                <a:cubicBezTo>
                  <a:pt x="95924" y="1524"/>
                  <a:pt x="92521" y="0"/>
                  <a:pt x="88914" y="0"/>
                </a:cubicBezTo>
                <a:lnTo>
                  <a:pt x="12714" y="0"/>
                </a:lnTo>
                <a:cubicBezTo>
                  <a:pt x="7710" y="0"/>
                  <a:pt x="3164" y="2946"/>
                  <a:pt x="1106" y="7518"/>
                </a:cubicBezTo>
                <a:cubicBezTo>
                  <a:pt x="-926" y="12116"/>
                  <a:pt x="-87" y="17475"/>
                  <a:pt x="3265" y="21184"/>
                </a:cubicBezTo>
                <a:lnTo>
                  <a:pt x="109920" y="139700"/>
                </a:lnTo>
                <a:lnTo>
                  <a:pt x="3265" y="258190"/>
                </a:lnTo>
                <a:cubicBezTo>
                  <a:pt x="-87" y="261924"/>
                  <a:pt x="-951" y="267284"/>
                  <a:pt x="1106" y="271856"/>
                </a:cubicBezTo>
                <a:cubicBezTo>
                  <a:pt x="3164" y="276453"/>
                  <a:pt x="7710" y="279399"/>
                  <a:pt x="12714" y="279399"/>
                </a:cubicBezTo>
                <a:lnTo>
                  <a:pt x="88914" y="279399"/>
                </a:lnTo>
                <a:cubicBezTo>
                  <a:pt x="92521" y="279399"/>
                  <a:pt x="95924" y="277850"/>
                  <a:pt x="98363" y="275208"/>
                </a:cubicBezTo>
                <a:lnTo>
                  <a:pt x="212663" y="148209"/>
                </a:lnTo>
                <a:cubicBezTo>
                  <a:pt x="217006" y="143383"/>
                  <a:pt x="217006" y="136017"/>
                  <a:pt x="212663" y="131216"/>
                </a:cubicBezTo>
                <a:close/>
              </a:path>
            </a:pathLst>
          </a:custGeom>
          <a:solidFill>
            <a:srgbClr val="019CF7"/>
          </a:solidFill>
          <a:ln w="774" cap="flat">
            <a:noFill/>
            <a:prstDash val="solid"/>
            <a:miter/>
          </a:ln>
        </p:spPr>
        <p:txBody>
          <a:bodyPr rtlCol="0" anchor="ctr"/>
          <a:lstStyle/>
          <a:p>
            <a:endParaRPr lang="x-none" sz="1200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5557689" y="1812715"/>
            <a:ext cx="783630" cy="771921"/>
            <a:chOff x="5997429" y="5894962"/>
            <a:chExt cx="783630" cy="771921"/>
          </a:xfrm>
        </p:grpSpPr>
        <p:sp>
          <p:nvSpPr>
            <p:cNvPr id="23" name="Овал 22">
              <a:extLst>
                <a:ext uri="{FF2B5EF4-FFF2-40B4-BE49-F238E27FC236}">
                  <a16:creationId xmlns="" xmlns:a16="http://schemas.microsoft.com/office/drawing/2014/main" id="{0FA948B3-BB14-464C-AE32-F635B5D0FF33}"/>
                </a:ext>
              </a:extLst>
            </p:cNvPr>
            <p:cNvSpPr/>
            <p:nvPr/>
          </p:nvSpPr>
          <p:spPr>
            <a:xfrm>
              <a:off x="5997429" y="5894962"/>
              <a:ext cx="783630" cy="771921"/>
            </a:xfrm>
            <a:prstGeom prst="ellipse">
              <a:avLst/>
            </a:prstGeom>
            <a:gradFill flip="none" rotWithShape="1">
              <a:gsLst>
                <a:gs pos="29000">
                  <a:srgbClr val="072AB3"/>
                </a:gs>
                <a:gs pos="100000">
                  <a:srgbClr val="019CF7"/>
                </a:gs>
              </a:gsLst>
              <a:lin ang="27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dirty="0"/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="" xmlns:a16="http://schemas.microsoft.com/office/drawing/2014/main" id="{5B212AA4-8374-4BAE-8D37-7C00C71818A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135533" y="6010508"/>
              <a:ext cx="507422" cy="507422"/>
            </a:xfrm>
            <a:prstGeom prst="rect">
              <a:avLst/>
            </a:prstGeom>
            <a:ln>
              <a:solidFill>
                <a:schemeClr val="accent1">
                  <a:lumMod val="75000"/>
                </a:schemeClr>
              </a:solidFill>
            </a:ln>
          </p:spPr>
        </p:pic>
      </p:grpSp>
      <p:pic>
        <p:nvPicPr>
          <p:cNvPr id="29" name="Picture 36" descr="Картинки по запросу Clipart Graduate Silhouette">
            <a:hlinkClick r:id="rId5"/>
            <a:extLst>
              <a:ext uri="{FF2B5EF4-FFF2-40B4-BE49-F238E27FC236}">
                <a16:creationId xmlns="" xmlns:a16="http://schemas.microsoft.com/office/drawing/2014/main" id="{3E5231AF-AD9B-4E41-8E22-58F007E925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 flipH="1">
            <a:off x="11323303" y="2829687"/>
            <a:ext cx="422382" cy="1348006"/>
          </a:xfrm>
          <a:prstGeom prst="rect">
            <a:avLst/>
          </a:prstGeom>
          <a:noFill/>
          <a:effectLst>
            <a:outerShdw blurRad="76200" dir="13500000" sy="23000" kx="1200000" algn="br" rotWithShape="0">
              <a:schemeClr val="accent1">
                <a:lumMod val="60000"/>
                <a:lumOff val="40000"/>
                <a:alpha val="20000"/>
              </a:schemeClr>
            </a:outerShdw>
          </a:effectLst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A386CB6F-667F-C0F1-C332-486D7A42CA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40826" y="54298"/>
            <a:ext cx="737547" cy="762131"/>
          </a:xfrm>
          <a:prstGeom prst="rect">
            <a:avLst/>
          </a:prstGeom>
        </p:spPr>
      </p:pic>
      <p:sp>
        <p:nvSpPr>
          <p:cNvPr id="9" name="Полилиния: фигура 6">
            <a:extLst>
              <a:ext uri="{FF2B5EF4-FFF2-40B4-BE49-F238E27FC236}">
                <a16:creationId xmlns="" xmlns:a16="http://schemas.microsoft.com/office/drawing/2014/main" id="{0C21CC59-FEFE-2D9C-D1DD-7BF6DFC7EAC0}"/>
              </a:ext>
            </a:extLst>
          </p:cNvPr>
          <p:cNvSpPr/>
          <p:nvPr/>
        </p:nvSpPr>
        <p:spPr>
          <a:xfrm>
            <a:off x="6941032" y="3831202"/>
            <a:ext cx="3930485" cy="480705"/>
          </a:xfrm>
          <a:custGeom>
            <a:avLst/>
            <a:gdLst>
              <a:gd name="connsiteX0" fmla="*/ 253618 w 4422628"/>
              <a:gd name="connsiteY0" fmla="*/ 0 h 512062"/>
              <a:gd name="connsiteX1" fmla="*/ 1215643 w 4422628"/>
              <a:gd name="connsiteY1" fmla="*/ 0 h 512062"/>
              <a:gd name="connsiteX2" fmla="*/ 1322829 w 4422628"/>
              <a:gd name="connsiteY2" fmla="*/ 0 h 512062"/>
              <a:gd name="connsiteX3" fmla="*/ 2284855 w 4422628"/>
              <a:gd name="connsiteY3" fmla="*/ 0 h 512062"/>
              <a:gd name="connsiteX4" fmla="*/ 2307462 w 4422628"/>
              <a:gd name="connsiteY4" fmla="*/ 2301 h 512062"/>
              <a:gd name="connsiteX5" fmla="*/ 2330068 w 4422628"/>
              <a:gd name="connsiteY5" fmla="*/ 0 h 512062"/>
              <a:gd name="connsiteX6" fmla="*/ 3099798 w 4422628"/>
              <a:gd name="connsiteY6" fmla="*/ 0 h 512062"/>
              <a:gd name="connsiteX7" fmla="*/ 3399280 w 4422628"/>
              <a:gd name="connsiteY7" fmla="*/ 0 h 512062"/>
              <a:gd name="connsiteX8" fmla="*/ 4169010 w 4422628"/>
              <a:gd name="connsiteY8" fmla="*/ 0 h 512062"/>
              <a:gd name="connsiteX9" fmla="*/ 4422628 w 4422628"/>
              <a:gd name="connsiteY9" fmla="*/ 256031 h 512062"/>
              <a:gd name="connsiteX10" fmla="*/ 4169010 w 4422628"/>
              <a:gd name="connsiteY10" fmla="*/ 512062 h 512062"/>
              <a:gd name="connsiteX11" fmla="*/ 3399280 w 4422628"/>
              <a:gd name="connsiteY11" fmla="*/ 512062 h 512062"/>
              <a:gd name="connsiteX12" fmla="*/ 3099798 w 4422628"/>
              <a:gd name="connsiteY12" fmla="*/ 512062 h 512062"/>
              <a:gd name="connsiteX13" fmla="*/ 2330068 w 4422628"/>
              <a:gd name="connsiteY13" fmla="*/ 512062 h 512062"/>
              <a:gd name="connsiteX14" fmla="*/ 2307462 w 4422628"/>
              <a:gd name="connsiteY14" fmla="*/ 509761 h 512062"/>
              <a:gd name="connsiteX15" fmla="*/ 2284855 w 4422628"/>
              <a:gd name="connsiteY15" fmla="*/ 512062 h 512062"/>
              <a:gd name="connsiteX16" fmla="*/ 1322829 w 4422628"/>
              <a:gd name="connsiteY16" fmla="*/ 512062 h 512062"/>
              <a:gd name="connsiteX17" fmla="*/ 1215643 w 4422628"/>
              <a:gd name="connsiteY17" fmla="*/ 512062 h 512062"/>
              <a:gd name="connsiteX18" fmla="*/ 253618 w 4422628"/>
              <a:gd name="connsiteY18" fmla="*/ 512062 h 512062"/>
              <a:gd name="connsiteX19" fmla="*/ 0 w 4422628"/>
              <a:gd name="connsiteY19" fmla="*/ 256031 h 512062"/>
              <a:gd name="connsiteX20" fmla="*/ 253618 w 4422628"/>
              <a:gd name="connsiteY20" fmla="*/ 0 h 512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4422628" h="512062">
                <a:moveTo>
                  <a:pt x="253618" y="0"/>
                </a:moveTo>
                <a:lnTo>
                  <a:pt x="1215643" y="0"/>
                </a:lnTo>
                <a:lnTo>
                  <a:pt x="1322829" y="0"/>
                </a:lnTo>
                <a:lnTo>
                  <a:pt x="2284855" y="0"/>
                </a:lnTo>
                <a:lnTo>
                  <a:pt x="2307462" y="2301"/>
                </a:lnTo>
                <a:lnTo>
                  <a:pt x="2330068" y="0"/>
                </a:lnTo>
                <a:lnTo>
                  <a:pt x="3099798" y="0"/>
                </a:lnTo>
                <a:lnTo>
                  <a:pt x="3399280" y="0"/>
                </a:lnTo>
                <a:lnTo>
                  <a:pt x="4169010" y="0"/>
                </a:lnTo>
                <a:cubicBezTo>
                  <a:pt x="4309065" y="0"/>
                  <a:pt x="4422628" y="114621"/>
                  <a:pt x="4422628" y="256031"/>
                </a:cubicBezTo>
                <a:cubicBezTo>
                  <a:pt x="4422628" y="397441"/>
                  <a:pt x="4309065" y="512062"/>
                  <a:pt x="4169010" y="512062"/>
                </a:cubicBezTo>
                <a:lnTo>
                  <a:pt x="3399280" y="512062"/>
                </a:lnTo>
                <a:lnTo>
                  <a:pt x="3099798" y="512062"/>
                </a:lnTo>
                <a:lnTo>
                  <a:pt x="2330068" y="512062"/>
                </a:lnTo>
                <a:lnTo>
                  <a:pt x="2307462" y="509761"/>
                </a:lnTo>
                <a:lnTo>
                  <a:pt x="2284855" y="512062"/>
                </a:lnTo>
                <a:lnTo>
                  <a:pt x="1322829" y="512062"/>
                </a:lnTo>
                <a:lnTo>
                  <a:pt x="1215643" y="512062"/>
                </a:lnTo>
                <a:lnTo>
                  <a:pt x="253618" y="512062"/>
                </a:lnTo>
                <a:cubicBezTo>
                  <a:pt x="113562" y="512062"/>
                  <a:pt x="0" y="397441"/>
                  <a:pt x="0" y="256031"/>
                </a:cubicBezTo>
                <a:cubicBezTo>
                  <a:pt x="0" y="114621"/>
                  <a:pt x="113562" y="0"/>
                  <a:pt x="253618" y="0"/>
                </a:cubicBezTo>
                <a:close/>
              </a:path>
            </a:pathLst>
          </a:custGeom>
          <a:noFill/>
          <a:ln>
            <a:solidFill>
              <a:schemeClr val="accent3">
                <a:lumMod val="60000"/>
                <a:lumOff val="4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x-none" sz="1600" dirty="0"/>
          </a:p>
        </p:txBody>
      </p:sp>
      <p:sp>
        <p:nvSpPr>
          <p:cNvPr id="26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48490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Прямоугольник 230"/>
          <p:cNvSpPr/>
          <p:nvPr/>
        </p:nvSpPr>
        <p:spPr>
          <a:xfrm>
            <a:off x="6077093" y="5271247"/>
            <a:ext cx="5846738" cy="75303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9" name="Прямоугольник 178"/>
          <p:cNvSpPr/>
          <p:nvPr/>
        </p:nvSpPr>
        <p:spPr>
          <a:xfrm>
            <a:off x="9358169" y="3286220"/>
            <a:ext cx="732215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3" name="Прямоугольный треугольник 182"/>
          <p:cNvSpPr/>
          <p:nvPr/>
        </p:nvSpPr>
        <p:spPr>
          <a:xfrm rot="5400000" flipH="1" flipV="1">
            <a:off x="9756993" y="3244837"/>
            <a:ext cx="295807" cy="359610"/>
          </a:xfrm>
          <a:prstGeom prst="rtTriangle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2521720" y="960064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2133515" y="960064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1775129" y="963809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1444885" y="963809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1086763" y="960064"/>
            <a:ext cx="75223" cy="47335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27" name="Прямоугольник 4"/>
          <p:cNvSpPr>
            <a:spLocks noChangeArrowheads="1"/>
          </p:cNvSpPr>
          <p:nvPr/>
        </p:nvSpPr>
        <p:spPr bwMode="auto">
          <a:xfrm>
            <a:off x="4565650" y="6487203"/>
            <a:ext cx="845978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Nara N, Suzuki T, Tohda S. </a:t>
            </a:r>
            <a:r>
              <a:rPr lang="en-US" sz="1100" u="sng">
                <a:solidFill>
                  <a:srgbClr val="642A8F"/>
                </a:solidFill>
                <a:latin typeface="Arial" panose="020B0604020202020204" pitchFamily="34" charset="0"/>
                <a:hlinkClick r:id="rId3"/>
              </a:rPr>
              <a:t>The current medical education system in the world.</a:t>
            </a:r>
            <a:r>
              <a:rPr lang="en-US" sz="1100">
                <a:solidFill>
                  <a:srgbClr val="000000"/>
                </a:solidFill>
                <a:latin typeface="Arial" panose="020B0604020202020204" pitchFamily="34" charset="0"/>
              </a:rPr>
              <a:t> J Med Dent Sci. 2011 Jul 4;58(2):79-83</a:t>
            </a:r>
            <a:endParaRPr lang="en-US" sz="1100"/>
          </a:p>
        </p:txBody>
      </p:sp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930" y="74400"/>
            <a:ext cx="737547" cy="762131"/>
          </a:xfrm>
          <a:prstGeom prst="rect">
            <a:avLst/>
          </a:prstGeom>
        </p:spPr>
      </p:pic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19BCB565-58C1-4DE6-ACDA-EA00FD2A581B}"/>
              </a:ext>
            </a:extLst>
          </p:cNvPr>
          <p:cNvSpPr/>
          <p:nvPr/>
        </p:nvSpPr>
        <p:spPr>
          <a:xfrm>
            <a:off x="1704574" y="162068"/>
            <a:ext cx="9740348" cy="420260"/>
          </a:xfrm>
          <a:prstGeom prst="rect">
            <a:avLst/>
          </a:prstGeom>
        </p:spPr>
        <p:txBody>
          <a:bodyPr wrap="square" lIns="80915" tIns="40458" rIns="80915" bIns="40458">
            <a:spAutoFit/>
          </a:bodyPr>
          <a:lstStyle/>
          <a:p>
            <a:pPr algn="ctr"/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Международная практика в подготовке врачебных кадров 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099913" y="1727528"/>
            <a:ext cx="1428802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лледж (не мед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110099" y="2249255"/>
            <a:ext cx="2128471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(37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121478" y="2758172"/>
            <a:ext cx="1772445" cy="277175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(31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132420" y="3274049"/>
            <a:ext cx="1389300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лледж (не мед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142224" y="3805451"/>
            <a:ext cx="1737048" cy="277459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(5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142224" y="4334837"/>
            <a:ext cx="1393031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лледж (не мед)</a:t>
            </a:r>
            <a:r>
              <a:rPr lang="ru-RU" sz="1200" dirty="0"/>
              <a:t> </a:t>
            </a:r>
            <a:endParaRPr lang="en-US" sz="1200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1142223" y="4836218"/>
            <a:ext cx="1739819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(1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165565" y="5355481"/>
            <a:ext cx="1380738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лледж (не мед)</a:t>
            </a:r>
            <a:r>
              <a:rPr lang="ru-RU" sz="1200" dirty="0"/>
              <a:t> </a:t>
            </a:r>
            <a:endParaRPr lang="en-US" sz="1200" dirty="0"/>
          </a:p>
        </p:txBody>
      </p:sp>
      <p:sp>
        <p:nvSpPr>
          <p:cNvPr id="5" name="Стрелка вправо 4"/>
          <p:cNvSpPr/>
          <p:nvPr/>
        </p:nvSpPr>
        <p:spPr>
          <a:xfrm>
            <a:off x="1015023" y="836532"/>
            <a:ext cx="4618193" cy="15244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141771" y="1188758"/>
            <a:ext cx="7184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Япония</a:t>
            </a:r>
            <a:endParaRPr lang="en-US" sz="1200" dirty="0"/>
          </a:p>
        </p:txBody>
      </p:sp>
      <p:sp>
        <p:nvSpPr>
          <p:cNvPr id="24" name="TextBox 23"/>
          <p:cNvSpPr txBox="1"/>
          <p:nvPr/>
        </p:nvSpPr>
        <p:spPr>
          <a:xfrm>
            <a:off x="141771" y="1649402"/>
            <a:ext cx="70403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США, </a:t>
            </a:r>
          </a:p>
          <a:p>
            <a:r>
              <a:rPr lang="ru-RU" sz="1200" dirty="0"/>
              <a:t>Канада</a:t>
            </a:r>
            <a:endParaRPr lang="en-US" sz="1200" dirty="0"/>
          </a:p>
        </p:txBody>
      </p:sp>
      <p:sp>
        <p:nvSpPr>
          <p:cNvPr id="25" name="TextBox 24"/>
          <p:cNvSpPr txBox="1"/>
          <p:nvPr/>
        </p:nvSpPr>
        <p:spPr>
          <a:xfrm>
            <a:off x="141771" y="2261246"/>
            <a:ext cx="8732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Германия</a:t>
            </a:r>
            <a:endParaRPr lang="en-US" sz="1200" dirty="0"/>
          </a:p>
        </p:txBody>
      </p:sp>
      <p:sp>
        <p:nvSpPr>
          <p:cNvPr id="26" name="TextBox 25"/>
          <p:cNvSpPr txBox="1"/>
          <p:nvPr/>
        </p:nvSpPr>
        <p:spPr>
          <a:xfrm>
            <a:off x="123684" y="2688424"/>
            <a:ext cx="85299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Велико-</a:t>
            </a:r>
          </a:p>
          <a:p>
            <a:r>
              <a:rPr lang="ru-RU" sz="1200" dirty="0" err="1"/>
              <a:t>британия</a:t>
            </a:r>
            <a:endParaRPr lang="en-US" sz="1200" dirty="0"/>
          </a:p>
        </p:txBody>
      </p:sp>
      <p:sp>
        <p:nvSpPr>
          <p:cNvPr id="27" name="TextBox 26"/>
          <p:cNvSpPr txBox="1"/>
          <p:nvPr/>
        </p:nvSpPr>
        <p:spPr>
          <a:xfrm>
            <a:off x="123684" y="3222124"/>
            <a:ext cx="102451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Велико</a:t>
            </a:r>
            <a:r>
              <a:rPr lang="ru-RU" sz="1200" dirty="0"/>
              <a:t>-</a:t>
            </a:r>
          </a:p>
          <a:p>
            <a:r>
              <a:rPr lang="ru-RU" sz="1200" dirty="0" err="1"/>
              <a:t>британия</a:t>
            </a:r>
            <a:r>
              <a:rPr lang="ru-RU" sz="1200" dirty="0"/>
              <a:t> 2 </a:t>
            </a:r>
            <a:endParaRPr lang="en-US" sz="1200" dirty="0"/>
          </a:p>
        </p:txBody>
      </p:sp>
      <p:sp>
        <p:nvSpPr>
          <p:cNvPr id="28" name="TextBox 27"/>
          <p:cNvSpPr txBox="1"/>
          <p:nvPr/>
        </p:nvSpPr>
        <p:spPr>
          <a:xfrm>
            <a:off x="103005" y="3847565"/>
            <a:ext cx="89434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Ирландия</a:t>
            </a:r>
            <a:endParaRPr lang="en-US" sz="1200" dirty="0"/>
          </a:p>
        </p:txBody>
      </p:sp>
      <p:sp>
        <p:nvSpPr>
          <p:cNvPr id="29" name="TextBox 28"/>
          <p:cNvSpPr txBox="1"/>
          <p:nvPr/>
        </p:nvSpPr>
        <p:spPr>
          <a:xfrm>
            <a:off x="79930" y="4327469"/>
            <a:ext cx="1022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Ирландия 2</a:t>
            </a:r>
            <a:endParaRPr lang="en-US" sz="1200" dirty="0"/>
          </a:p>
        </p:txBody>
      </p:sp>
      <p:sp>
        <p:nvSpPr>
          <p:cNvPr id="30" name="TextBox 29"/>
          <p:cNvSpPr txBox="1"/>
          <p:nvPr/>
        </p:nvSpPr>
        <p:spPr>
          <a:xfrm>
            <a:off x="123684" y="4843896"/>
            <a:ext cx="9762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Сингапур 1</a:t>
            </a:r>
            <a:endParaRPr lang="en-US" sz="1200" dirty="0"/>
          </a:p>
        </p:txBody>
      </p:sp>
      <p:sp>
        <p:nvSpPr>
          <p:cNvPr id="31" name="TextBox 30"/>
          <p:cNvSpPr txBox="1"/>
          <p:nvPr/>
        </p:nvSpPr>
        <p:spPr>
          <a:xfrm>
            <a:off x="123684" y="5369307"/>
            <a:ext cx="97622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Сингапур 2</a:t>
            </a:r>
            <a:endParaRPr lang="en-US" sz="1200" dirty="0"/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>
            <a:off x="2883415" y="960064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3243456" y="960023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3628163" y="956265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912715" y="58122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18</a:t>
            </a:r>
            <a:endParaRPr lang="en-US" sz="1200" b="1" dirty="0"/>
          </a:p>
        </p:txBody>
      </p:sp>
      <p:sp>
        <p:nvSpPr>
          <p:cNvPr id="42" name="TextBox 41"/>
          <p:cNvSpPr txBox="1"/>
          <p:nvPr/>
        </p:nvSpPr>
        <p:spPr>
          <a:xfrm>
            <a:off x="1272553" y="583050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19</a:t>
            </a:r>
            <a:endParaRPr lang="en-US" sz="1200" b="1" dirty="0"/>
          </a:p>
        </p:txBody>
      </p:sp>
      <p:sp>
        <p:nvSpPr>
          <p:cNvPr id="43" name="TextBox 42"/>
          <p:cNvSpPr txBox="1"/>
          <p:nvPr/>
        </p:nvSpPr>
        <p:spPr>
          <a:xfrm>
            <a:off x="1629730" y="583050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0</a:t>
            </a:r>
            <a:endParaRPr lang="en-US" sz="1200" b="1" dirty="0"/>
          </a:p>
        </p:txBody>
      </p:sp>
      <p:sp>
        <p:nvSpPr>
          <p:cNvPr id="44" name="TextBox 43"/>
          <p:cNvSpPr txBox="1"/>
          <p:nvPr/>
        </p:nvSpPr>
        <p:spPr>
          <a:xfrm>
            <a:off x="1985483" y="58602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1</a:t>
            </a:r>
            <a:endParaRPr lang="en-US" sz="1200" b="1" dirty="0"/>
          </a:p>
        </p:txBody>
      </p:sp>
      <p:sp>
        <p:nvSpPr>
          <p:cNvPr id="45" name="TextBox 44"/>
          <p:cNvSpPr txBox="1"/>
          <p:nvPr/>
        </p:nvSpPr>
        <p:spPr>
          <a:xfrm>
            <a:off x="2355274" y="584697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2</a:t>
            </a:r>
            <a:endParaRPr lang="en-US" sz="1200" b="1" dirty="0"/>
          </a:p>
        </p:txBody>
      </p:sp>
      <p:sp>
        <p:nvSpPr>
          <p:cNvPr id="46" name="TextBox 45"/>
          <p:cNvSpPr txBox="1"/>
          <p:nvPr/>
        </p:nvSpPr>
        <p:spPr>
          <a:xfrm>
            <a:off x="2715335" y="583781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3</a:t>
            </a:r>
            <a:endParaRPr lang="en-US" sz="1200" b="1" dirty="0"/>
          </a:p>
        </p:txBody>
      </p:sp>
      <p:sp>
        <p:nvSpPr>
          <p:cNvPr id="47" name="TextBox 46"/>
          <p:cNvSpPr txBox="1"/>
          <p:nvPr/>
        </p:nvSpPr>
        <p:spPr>
          <a:xfrm>
            <a:off x="3073679" y="583503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4</a:t>
            </a:r>
            <a:endParaRPr lang="en-US" sz="1200" b="1" dirty="0"/>
          </a:p>
        </p:txBody>
      </p:sp>
      <p:sp>
        <p:nvSpPr>
          <p:cNvPr id="48" name="TextBox 47"/>
          <p:cNvSpPr txBox="1"/>
          <p:nvPr/>
        </p:nvSpPr>
        <p:spPr>
          <a:xfrm>
            <a:off x="3430856" y="579745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5</a:t>
            </a:r>
            <a:endParaRPr lang="en-US" sz="1200" b="1" dirty="0"/>
          </a:p>
        </p:txBody>
      </p:sp>
      <p:sp>
        <p:nvSpPr>
          <p:cNvPr id="49" name="TextBox 48"/>
          <p:cNvSpPr txBox="1"/>
          <p:nvPr/>
        </p:nvSpPr>
        <p:spPr>
          <a:xfrm>
            <a:off x="3796455" y="58122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6</a:t>
            </a:r>
            <a:endParaRPr lang="en-US" sz="1200" b="1" dirty="0"/>
          </a:p>
        </p:txBody>
      </p:sp>
      <p:sp>
        <p:nvSpPr>
          <p:cNvPr id="50" name="TextBox 49"/>
          <p:cNvSpPr txBox="1"/>
          <p:nvPr/>
        </p:nvSpPr>
        <p:spPr>
          <a:xfrm>
            <a:off x="4172893" y="58122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7</a:t>
            </a:r>
            <a:endParaRPr lang="en-US" sz="1200" b="1" dirty="0"/>
          </a:p>
        </p:txBody>
      </p:sp>
      <p:sp>
        <p:nvSpPr>
          <p:cNvPr id="51" name="TextBox 50"/>
          <p:cNvSpPr txBox="1"/>
          <p:nvPr/>
        </p:nvSpPr>
        <p:spPr>
          <a:xfrm>
            <a:off x="4550764" y="58891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8</a:t>
            </a:r>
            <a:endParaRPr lang="en-US" sz="1200" b="1" dirty="0"/>
          </a:p>
        </p:txBody>
      </p:sp>
      <p:sp>
        <p:nvSpPr>
          <p:cNvPr id="52" name="TextBox 51"/>
          <p:cNvSpPr txBox="1"/>
          <p:nvPr/>
        </p:nvSpPr>
        <p:spPr>
          <a:xfrm>
            <a:off x="4919748" y="588916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29</a:t>
            </a:r>
            <a:endParaRPr lang="en-US" sz="1200" b="1" dirty="0"/>
          </a:p>
        </p:txBody>
      </p:sp>
      <p:sp>
        <p:nvSpPr>
          <p:cNvPr id="53" name="TextBox 52"/>
          <p:cNvSpPr txBox="1"/>
          <p:nvPr/>
        </p:nvSpPr>
        <p:spPr>
          <a:xfrm>
            <a:off x="5248270" y="592647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/>
              <a:t>30</a:t>
            </a:r>
            <a:endParaRPr lang="en-US" sz="1200" b="1" dirty="0"/>
          </a:p>
        </p:txBody>
      </p:sp>
      <p:cxnSp>
        <p:nvCxnSpPr>
          <p:cNvPr id="56" name="Прямая соединительная линия 55"/>
          <p:cNvCxnSpPr/>
          <p:nvPr/>
        </p:nvCxnSpPr>
        <p:spPr>
          <a:xfrm>
            <a:off x="3993027" y="957746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>
            <a:off x="4361435" y="965088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/>
          <p:cNvCxnSpPr/>
          <p:nvPr/>
        </p:nvCxnSpPr>
        <p:spPr>
          <a:xfrm>
            <a:off x="4758022" y="963809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/>
          <p:cNvCxnSpPr/>
          <p:nvPr/>
        </p:nvCxnSpPr>
        <p:spPr>
          <a:xfrm>
            <a:off x="5134777" y="954283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/>
          <p:cNvCxnSpPr/>
          <p:nvPr/>
        </p:nvCxnSpPr>
        <p:spPr>
          <a:xfrm>
            <a:off x="5499128" y="963809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090245" y="1196126"/>
            <a:ext cx="2160205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(80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2709858" y="1004867"/>
            <a:ext cx="1075582" cy="135526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 err="1"/>
              <a:t>Нац</a:t>
            </a:r>
            <a:r>
              <a:rPr lang="ru-RU" sz="700" dirty="0"/>
              <a:t> тест</a:t>
            </a:r>
            <a:endParaRPr lang="en-US" sz="700" dirty="0"/>
          </a:p>
        </p:txBody>
      </p:sp>
      <p:sp>
        <p:nvSpPr>
          <p:cNvPr id="63" name="Прямоугольник 62"/>
          <p:cNvSpPr/>
          <p:nvPr/>
        </p:nvSpPr>
        <p:spPr>
          <a:xfrm>
            <a:off x="3250450" y="1195844"/>
            <a:ext cx="900589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4152845" y="1193608"/>
            <a:ext cx="1353278" cy="272149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ециализаци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2530046" y="1728808"/>
            <a:ext cx="1493865" cy="265695"/>
          </a:xfrm>
          <a:prstGeom prst="rect">
            <a:avLst/>
          </a:prstGeom>
          <a:solidFill>
            <a:srgbClr val="F7C1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(США 144 + Канада 16)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4030916" y="1727528"/>
            <a:ext cx="457101" cy="26697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4499629" y="1727528"/>
            <a:ext cx="1097264" cy="264691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ециализаци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3254172" y="2248286"/>
            <a:ext cx="1502976" cy="270600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 + специализаци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Прямоугольный треугольник 60"/>
          <p:cNvSpPr/>
          <p:nvPr/>
        </p:nvSpPr>
        <p:spPr>
          <a:xfrm rot="5400000">
            <a:off x="4988961" y="2031347"/>
            <a:ext cx="272984" cy="706862"/>
          </a:xfrm>
          <a:prstGeom prst="rtTriangle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Прямоугольник 70"/>
          <p:cNvSpPr/>
          <p:nvPr/>
        </p:nvSpPr>
        <p:spPr>
          <a:xfrm>
            <a:off x="2879272" y="2758172"/>
            <a:ext cx="457101" cy="27717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3339350" y="2761459"/>
            <a:ext cx="1099969" cy="270600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ециализаци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4" name="Прямоугольный треугольник 73"/>
          <p:cNvSpPr/>
          <p:nvPr/>
        </p:nvSpPr>
        <p:spPr>
          <a:xfrm rot="5400000">
            <a:off x="4827883" y="2382250"/>
            <a:ext cx="272984" cy="1029017"/>
          </a:xfrm>
          <a:prstGeom prst="rtTriangle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Прямоугольник 74"/>
          <p:cNvSpPr/>
          <p:nvPr/>
        </p:nvSpPr>
        <p:spPr>
          <a:xfrm>
            <a:off x="2516234" y="3273482"/>
            <a:ext cx="1504031" cy="265695"/>
          </a:xfrm>
          <a:prstGeom prst="rect">
            <a:avLst/>
          </a:prstGeom>
          <a:solidFill>
            <a:srgbClr val="F7C1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(14)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4020870" y="3275825"/>
            <a:ext cx="457101" cy="26335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4485747" y="3280059"/>
            <a:ext cx="1089347" cy="276809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ециализаци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2867018" y="3805451"/>
            <a:ext cx="457101" cy="277175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2" name="Прямоугольный треугольник 61"/>
          <p:cNvSpPr/>
          <p:nvPr/>
        </p:nvSpPr>
        <p:spPr>
          <a:xfrm rot="5400000" flipH="1" flipV="1">
            <a:off x="2550554" y="3761411"/>
            <a:ext cx="295807" cy="359610"/>
          </a:xfrm>
          <a:prstGeom prst="rtTriangl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Прямоугольник 81"/>
          <p:cNvSpPr/>
          <p:nvPr/>
        </p:nvSpPr>
        <p:spPr>
          <a:xfrm>
            <a:off x="3324119" y="3805168"/>
            <a:ext cx="1086007" cy="283952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ециализаци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3" name="Прямоугольный треугольник 82"/>
          <p:cNvSpPr/>
          <p:nvPr/>
        </p:nvSpPr>
        <p:spPr>
          <a:xfrm rot="5400000">
            <a:off x="4820116" y="3394525"/>
            <a:ext cx="272984" cy="1099028"/>
          </a:xfrm>
          <a:prstGeom prst="rtTriangle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4" name="Прямоугольник 83"/>
          <p:cNvSpPr/>
          <p:nvPr/>
        </p:nvSpPr>
        <p:spPr>
          <a:xfrm>
            <a:off x="2541239" y="4338773"/>
            <a:ext cx="1487095" cy="265695"/>
          </a:xfrm>
          <a:prstGeom prst="rect">
            <a:avLst/>
          </a:prstGeom>
          <a:solidFill>
            <a:srgbClr val="F7C1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4037794" y="4342628"/>
            <a:ext cx="457101" cy="26335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4482478" y="4336598"/>
            <a:ext cx="1092616" cy="267870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ециализаци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2898475" y="4836218"/>
            <a:ext cx="437269" cy="279667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9" name="Прямоугольник 88"/>
          <p:cNvSpPr/>
          <p:nvPr/>
        </p:nvSpPr>
        <p:spPr>
          <a:xfrm>
            <a:off x="3343809" y="4842561"/>
            <a:ext cx="441631" cy="279667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язательств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2898475" y="4836218"/>
            <a:ext cx="457101" cy="279667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3788170" y="4848907"/>
            <a:ext cx="596707" cy="234082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ец-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2" name="Прямоугольный треугольник 91"/>
          <p:cNvSpPr/>
          <p:nvPr/>
        </p:nvSpPr>
        <p:spPr>
          <a:xfrm rot="5400000">
            <a:off x="4432652" y="4800046"/>
            <a:ext cx="280646" cy="368346"/>
          </a:xfrm>
          <a:prstGeom prst="rtTriangle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Прямоугольник 92"/>
          <p:cNvSpPr/>
          <p:nvPr/>
        </p:nvSpPr>
        <p:spPr>
          <a:xfrm>
            <a:off x="2517341" y="5357448"/>
            <a:ext cx="1487095" cy="265695"/>
          </a:xfrm>
          <a:prstGeom prst="rect">
            <a:avLst/>
          </a:prstGeom>
          <a:solidFill>
            <a:srgbClr val="F7C1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(1) 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4007360" y="5360940"/>
            <a:ext cx="470611" cy="263352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7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4479612" y="5354811"/>
            <a:ext cx="1092073" cy="268332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ециализаци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2737305" y="1537575"/>
            <a:ext cx="829315" cy="124019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/>
              <a:t>Степ 1 </a:t>
            </a:r>
            <a:r>
              <a:rPr lang="en-US" sz="700" dirty="0"/>
              <a:t>USMLE</a:t>
            </a:r>
            <a:r>
              <a:rPr lang="ru-RU" sz="700" dirty="0"/>
              <a:t> </a:t>
            </a:r>
            <a:endParaRPr lang="en-US" sz="700" dirty="0"/>
          </a:p>
        </p:txBody>
      </p:sp>
      <p:sp>
        <p:nvSpPr>
          <p:cNvPr id="98" name="Прямоугольник 97"/>
          <p:cNvSpPr/>
          <p:nvPr/>
        </p:nvSpPr>
        <p:spPr>
          <a:xfrm>
            <a:off x="3720053" y="1543861"/>
            <a:ext cx="510183" cy="120535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/>
              <a:t>Степ </a:t>
            </a:r>
            <a:r>
              <a:rPr lang="en-US" sz="700" dirty="0"/>
              <a:t>2</a:t>
            </a:r>
            <a:r>
              <a:rPr lang="ru-RU" sz="700" dirty="0"/>
              <a:t> </a:t>
            </a:r>
            <a:endParaRPr lang="en-US" sz="700" dirty="0"/>
          </a:p>
        </p:txBody>
      </p:sp>
      <p:sp>
        <p:nvSpPr>
          <p:cNvPr id="99" name="Прямоугольник 98"/>
          <p:cNvSpPr/>
          <p:nvPr/>
        </p:nvSpPr>
        <p:spPr>
          <a:xfrm>
            <a:off x="4368430" y="1541059"/>
            <a:ext cx="510183" cy="120535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/>
              <a:t>Степ </a:t>
            </a:r>
            <a:r>
              <a:rPr lang="en-US" sz="700" dirty="0"/>
              <a:t>3</a:t>
            </a:r>
            <a:r>
              <a:rPr lang="ru-RU" sz="700" dirty="0"/>
              <a:t> </a:t>
            </a:r>
            <a:endParaRPr lang="en-US" sz="700" dirty="0"/>
          </a:p>
        </p:txBody>
      </p:sp>
      <p:sp>
        <p:nvSpPr>
          <p:cNvPr id="100" name="Прямоугольник 99"/>
          <p:cNvSpPr/>
          <p:nvPr/>
        </p:nvSpPr>
        <p:spPr>
          <a:xfrm>
            <a:off x="1636712" y="2042486"/>
            <a:ext cx="1075582" cy="135526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 err="1"/>
              <a:t>Нац</a:t>
            </a:r>
            <a:r>
              <a:rPr lang="ru-RU" sz="700" dirty="0"/>
              <a:t> тест</a:t>
            </a:r>
            <a:endParaRPr lang="en-US" sz="700" dirty="0"/>
          </a:p>
        </p:txBody>
      </p:sp>
      <p:sp>
        <p:nvSpPr>
          <p:cNvPr id="101" name="Прямоугольник 100"/>
          <p:cNvSpPr/>
          <p:nvPr/>
        </p:nvSpPr>
        <p:spPr>
          <a:xfrm>
            <a:off x="3076148" y="2042486"/>
            <a:ext cx="1075582" cy="135526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 err="1"/>
              <a:t>Нац</a:t>
            </a:r>
            <a:r>
              <a:rPr lang="ru-RU" sz="700" dirty="0"/>
              <a:t> тест</a:t>
            </a:r>
            <a:r>
              <a:rPr lang="en-US" sz="700" dirty="0"/>
              <a:t> #2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3171393" y="2610346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104" name="Прямоугольник 103"/>
          <p:cNvSpPr/>
          <p:nvPr/>
        </p:nvSpPr>
        <p:spPr>
          <a:xfrm>
            <a:off x="2293494" y="2604874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105" name="Прямоугольник 104"/>
          <p:cNvSpPr/>
          <p:nvPr/>
        </p:nvSpPr>
        <p:spPr>
          <a:xfrm>
            <a:off x="4160505" y="3124449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106" name="Прямоугольник 105"/>
          <p:cNvSpPr/>
          <p:nvPr/>
        </p:nvSpPr>
        <p:spPr>
          <a:xfrm>
            <a:off x="3365467" y="3121686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107" name="Прямоугольник 106"/>
          <p:cNvSpPr/>
          <p:nvPr/>
        </p:nvSpPr>
        <p:spPr>
          <a:xfrm>
            <a:off x="3022176" y="3619734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108" name="Прямоугольник 107"/>
          <p:cNvSpPr/>
          <p:nvPr/>
        </p:nvSpPr>
        <p:spPr>
          <a:xfrm>
            <a:off x="2208150" y="3619584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109" name="Прямоугольник 108"/>
          <p:cNvSpPr/>
          <p:nvPr/>
        </p:nvSpPr>
        <p:spPr>
          <a:xfrm>
            <a:off x="4258731" y="4132741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110" name="Прямоугольник 109"/>
          <p:cNvSpPr/>
          <p:nvPr/>
        </p:nvSpPr>
        <p:spPr>
          <a:xfrm>
            <a:off x="3324993" y="4124564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cxnSp>
        <p:nvCxnSpPr>
          <p:cNvPr id="81" name="Прямая со стрелкой 80"/>
          <p:cNvCxnSpPr>
            <a:endCxn id="63" idx="1"/>
          </p:cNvCxnSpPr>
          <p:nvPr/>
        </p:nvCxnSpPr>
        <p:spPr>
          <a:xfrm>
            <a:off x="3246953" y="1140393"/>
            <a:ext cx="3497" cy="1904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Прямая со стрелкой 112"/>
          <p:cNvCxnSpPr/>
          <p:nvPr/>
        </p:nvCxnSpPr>
        <p:spPr>
          <a:xfrm>
            <a:off x="3126667" y="1589305"/>
            <a:ext cx="10883" cy="1724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Прямая со стрелкой 114"/>
          <p:cNvCxnSpPr/>
          <p:nvPr/>
        </p:nvCxnSpPr>
        <p:spPr>
          <a:xfrm>
            <a:off x="3958946" y="1664396"/>
            <a:ext cx="51598" cy="153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Прямая со стрелкой 116"/>
          <p:cNvCxnSpPr/>
          <p:nvPr/>
        </p:nvCxnSpPr>
        <p:spPr>
          <a:xfrm flipH="1">
            <a:off x="4480440" y="1660524"/>
            <a:ext cx="68397" cy="1372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Прямая со стрелкой 118"/>
          <p:cNvCxnSpPr>
            <a:stCxn id="105" idx="2"/>
          </p:cNvCxnSpPr>
          <p:nvPr/>
        </p:nvCxnSpPr>
        <p:spPr>
          <a:xfrm flipH="1">
            <a:off x="4469821" y="3216843"/>
            <a:ext cx="63852" cy="117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Прямая со стрелкой 120"/>
          <p:cNvCxnSpPr/>
          <p:nvPr/>
        </p:nvCxnSpPr>
        <p:spPr>
          <a:xfrm>
            <a:off x="3966180" y="3210551"/>
            <a:ext cx="51598" cy="153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Прямая со стрелкой 121"/>
          <p:cNvCxnSpPr/>
          <p:nvPr/>
        </p:nvCxnSpPr>
        <p:spPr>
          <a:xfrm flipH="1">
            <a:off x="4485747" y="4222120"/>
            <a:ext cx="63852" cy="117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Прямая со стрелкой 123"/>
          <p:cNvCxnSpPr/>
          <p:nvPr/>
        </p:nvCxnSpPr>
        <p:spPr>
          <a:xfrm flipH="1">
            <a:off x="3351968" y="2706560"/>
            <a:ext cx="63852" cy="117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5" name="Прямая со стрелкой 124"/>
          <p:cNvCxnSpPr/>
          <p:nvPr/>
        </p:nvCxnSpPr>
        <p:spPr>
          <a:xfrm>
            <a:off x="2834484" y="2703996"/>
            <a:ext cx="51598" cy="153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Прямая со стрелкой 125"/>
          <p:cNvCxnSpPr/>
          <p:nvPr/>
        </p:nvCxnSpPr>
        <p:spPr>
          <a:xfrm>
            <a:off x="3974027" y="4206613"/>
            <a:ext cx="51598" cy="153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/>
          <p:nvPr/>
        </p:nvCxnSpPr>
        <p:spPr>
          <a:xfrm>
            <a:off x="2843661" y="3718379"/>
            <a:ext cx="51598" cy="153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8" name="Прямая со стрелкой 127"/>
          <p:cNvCxnSpPr/>
          <p:nvPr/>
        </p:nvCxnSpPr>
        <p:spPr>
          <a:xfrm flipH="1">
            <a:off x="3300902" y="3730072"/>
            <a:ext cx="63852" cy="117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9" name="Прямая со стрелкой 128"/>
          <p:cNvCxnSpPr/>
          <p:nvPr/>
        </p:nvCxnSpPr>
        <p:spPr>
          <a:xfrm>
            <a:off x="3242401" y="2181354"/>
            <a:ext cx="6290" cy="1524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Прямая со стрелкой 130"/>
          <p:cNvCxnSpPr/>
          <p:nvPr/>
        </p:nvCxnSpPr>
        <p:spPr>
          <a:xfrm>
            <a:off x="2007700" y="2178012"/>
            <a:ext cx="0" cy="138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23" name="Рисунок 122"/>
          <p:cNvPicPr>
            <a:picLocks noChangeAspect="1"/>
          </p:cNvPicPr>
          <p:nvPr/>
        </p:nvPicPr>
        <p:blipFill rotWithShape="1">
          <a:blip r:embed="rId5"/>
          <a:srcRect l="38792" t="24222" r="37583" b="72222"/>
          <a:stretch/>
        </p:blipFill>
        <p:spPr>
          <a:xfrm>
            <a:off x="951732" y="555858"/>
            <a:ext cx="4879106" cy="433272"/>
          </a:xfrm>
          <a:prstGeom prst="rect">
            <a:avLst/>
          </a:prstGeom>
        </p:spPr>
      </p:pic>
      <p:pic>
        <p:nvPicPr>
          <p:cNvPr id="134" name="Рисунок 133"/>
          <p:cNvPicPr>
            <a:picLocks noChangeAspect="1"/>
          </p:cNvPicPr>
          <p:nvPr/>
        </p:nvPicPr>
        <p:blipFill rotWithShape="1">
          <a:blip r:embed="rId5"/>
          <a:srcRect l="38792" t="24222" r="37583" b="72222"/>
          <a:stretch/>
        </p:blipFill>
        <p:spPr>
          <a:xfrm>
            <a:off x="7311683" y="588916"/>
            <a:ext cx="4879106" cy="433272"/>
          </a:xfrm>
          <a:prstGeom prst="rect">
            <a:avLst/>
          </a:prstGeom>
        </p:spPr>
      </p:pic>
      <p:cxnSp>
        <p:nvCxnSpPr>
          <p:cNvPr id="136" name="Прямая соединительная линия 135"/>
          <p:cNvCxnSpPr/>
          <p:nvPr/>
        </p:nvCxnSpPr>
        <p:spPr>
          <a:xfrm>
            <a:off x="7447910" y="1004361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Прямая соединительная линия 136"/>
          <p:cNvCxnSpPr/>
          <p:nvPr/>
        </p:nvCxnSpPr>
        <p:spPr>
          <a:xfrm>
            <a:off x="7846049" y="998968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единительная линия 137"/>
          <p:cNvCxnSpPr/>
          <p:nvPr/>
        </p:nvCxnSpPr>
        <p:spPr>
          <a:xfrm>
            <a:off x="8211739" y="998967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Прямая соединительная линия 138"/>
          <p:cNvCxnSpPr/>
          <p:nvPr/>
        </p:nvCxnSpPr>
        <p:spPr>
          <a:xfrm>
            <a:off x="8589271" y="1010578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Прямая соединительная линия 139"/>
          <p:cNvCxnSpPr/>
          <p:nvPr/>
        </p:nvCxnSpPr>
        <p:spPr>
          <a:xfrm>
            <a:off x="8996819" y="998263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Прямая соединительная линия 140"/>
          <p:cNvCxnSpPr/>
          <p:nvPr/>
        </p:nvCxnSpPr>
        <p:spPr>
          <a:xfrm>
            <a:off x="9351519" y="998262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Прямая соединительная линия 141"/>
          <p:cNvCxnSpPr/>
          <p:nvPr/>
        </p:nvCxnSpPr>
        <p:spPr>
          <a:xfrm>
            <a:off x="9688189" y="988972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Прямая соединительная линия 142"/>
          <p:cNvCxnSpPr/>
          <p:nvPr/>
        </p:nvCxnSpPr>
        <p:spPr>
          <a:xfrm>
            <a:off x="10060967" y="1010258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Прямая соединительная линия 143"/>
          <p:cNvCxnSpPr/>
          <p:nvPr/>
        </p:nvCxnSpPr>
        <p:spPr>
          <a:xfrm>
            <a:off x="10449172" y="1016223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Прямая соединительная линия 144"/>
          <p:cNvCxnSpPr/>
          <p:nvPr/>
        </p:nvCxnSpPr>
        <p:spPr>
          <a:xfrm>
            <a:off x="10804060" y="998261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Прямая соединительная линия 145"/>
          <p:cNvCxnSpPr/>
          <p:nvPr/>
        </p:nvCxnSpPr>
        <p:spPr>
          <a:xfrm>
            <a:off x="11192265" y="1017815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единительная линия 146"/>
          <p:cNvCxnSpPr/>
          <p:nvPr/>
        </p:nvCxnSpPr>
        <p:spPr>
          <a:xfrm>
            <a:off x="11558048" y="998260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Прямая соединительная линия 147"/>
          <p:cNvCxnSpPr/>
          <p:nvPr/>
        </p:nvCxnSpPr>
        <p:spPr>
          <a:xfrm>
            <a:off x="11910346" y="1009532"/>
            <a:ext cx="6995" cy="47298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Прямоугольник 148"/>
          <p:cNvSpPr/>
          <p:nvPr/>
        </p:nvSpPr>
        <p:spPr>
          <a:xfrm>
            <a:off x="7447910" y="1195844"/>
            <a:ext cx="2231847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(8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0" name="Прямоугольник 149"/>
          <p:cNvSpPr/>
          <p:nvPr/>
        </p:nvSpPr>
        <p:spPr>
          <a:xfrm>
            <a:off x="7437957" y="1724872"/>
            <a:ext cx="2623009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(9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1" name="Прямоугольник 150"/>
          <p:cNvSpPr/>
          <p:nvPr/>
        </p:nvSpPr>
        <p:spPr>
          <a:xfrm>
            <a:off x="7439623" y="2250126"/>
            <a:ext cx="2160205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(80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2" name="Прямоугольник 151"/>
          <p:cNvSpPr/>
          <p:nvPr/>
        </p:nvSpPr>
        <p:spPr>
          <a:xfrm>
            <a:off x="7437957" y="2765306"/>
            <a:ext cx="1565669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лледж (не мед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3" name="Прямоугольник 152"/>
          <p:cNvSpPr/>
          <p:nvPr/>
        </p:nvSpPr>
        <p:spPr>
          <a:xfrm>
            <a:off x="7437958" y="3273482"/>
            <a:ext cx="1911924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(7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4" name="Прямоугольник 153"/>
          <p:cNvSpPr/>
          <p:nvPr/>
        </p:nvSpPr>
        <p:spPr>
          <a:xfrm>
            <a:off x="7454905" y="3812995"/>
            <a:ext cx="1902215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(13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5" name="Прямоугольник 154"/>
          <p:cNvSpPr/>
          <p:nvPr/>
        </p:nvSpPr>
        <p:spPr>
          <a:xfrm>
            <a:off x="7458559" y="4339488"/>
            <a:ext cx="1545067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лледж (не мед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6" name="Прямоугольник 155"/>
          <p:cNvSpPr/>
          <p:nvPr/>
        </p:nvSpPr>
        <p:spPr>
          <a:xfrm>
            <a:off x="7439622" y="4854911"/>
            <a:ext cx="2255562" cy="269631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(31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7" name="Прямоугольник 156"/>
          <p:cNvSpPr/>
          <p:nvPr/>
        </p:nvSpPr>
        <p:spPr>
          <a:xfrm>
            <a:off x="7463192" y="5361605"/>
            <a:ext cx="2229982" cy="415836"/>
          </a:xfrm>
          <a:prstGeom prst="rect">
            <a:avLst/>
          </a:prstGeom>
          <a:solidFill>
            <a:srgbClr val="A8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азовое медицинское образование ( 6 лет )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6219744" y="1220658"/>
            <a:ext cx="10963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Нидерланды</a:t>
            </a:r>
            <a:endParaRPr lang="en-US" sz="1200" dirty="0"/>
          </a:p>
        </p:txBody>
      </p:sp>
      <p:sp>
        <p:nvSpPr>
          <p:cNvPr id="159" name="TextBox 158"/>
          <p:cNvSpPr txBox="1"/>
          <p:nvPr/>
        </p:nvSpPr>
        <p:spPr>
          <a:xfrm>
            <a:off x="6255621" y="1724872"/>
            <a:ext cx="76142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Бельгия</a:t>
            </a:r>
            <a:endParaRPr lang="en-US" sz="1200" dirty="0"/>
          </a:p>
        </p:txBody>
      </p:sp>
      <p:sp>
        <p:nvSpPr>
          <p:cNvPr id="160" name="TextBox 159"/>
          <p:cNvSpPr txBox="1"/>
          <p:nvPr/>
        </p:nvSpPr>
        <p:spPr>
          <a:xfrm>
            <a:off x="6253223" y="2257244"/>
            <a:ext cx="7954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Испания</a:t>
            </a:r>
            <a:endParaRPr lang="en-US" sz="1200" dirty="0"/>
          </a:p>
        </p:txBody>
      </p:sp>
      <p:sp>
        <p:nvSpPr>
          <p:cNvPr id="161" name="TextBox 160"/>
          <p:cNvSpPr txBox="1"/>
          <p:nvPr/>
        </p:nvSpPr>
        <p:spPr>
          <a:xfrm>
            <a:off x="6253526" y="2762043"/>
            <a:ext cx="10726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Австралия 1</a:t>
            </a:r>
            <a:endParaRPr lang="en-US" sz="1200" dirty="0"/>
          </a:p>
        </p:txBody>
      </p:sp>
      <p:sp>
        <p:nvSpPr>
          <p:cNvPr id="162" name="TextBox 161"/>
          <p:cNvSpPr txBox="1"/>
          <p:nvPr/>
        </p:nvSpPr>
        <p:spPr>
          <a:xfrm>
            <a:off x="6284207" y="3809310"/>
            <a:ext cx="90133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Малайзия</a:t>
            </a:r>
            <a:endParaRPr lang="en-US" sz="1200" dirty="0"/>
          </a:p>
        </p:txBody>
      </p:sp>
      <p:sp>
        <p:nvSpPr>
          <p:cNvPr id="163" name="TextBox 162"/>
          <p:cNvSpPr txBox="1"/>
          <p:nvPr/>
        </p:nvSpPr>
        <p:spPr>
          <a:xfrm>
            <a:off x="6253343" y="3279869"/>
            <a:ext cx="107260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Австралия 2</a:t>
            </a:r>
            <a:endParaRPr lang="en-US" sz="1200" dirty="0"/>
          </a:p>
        </p:txBody>
      </p:sp>
      <p:sp>
        <p:nvSpPr>
          <p:cNvPr id="164" name="TextBox 163"/>
          <p:cNvSpPr txBox="1"/>
          <p:nvPr/>
        </p:nvSpPr>
        <p:spPr>
          <a:xfrm>
            <a:off x="6296511" y="4335803"/>
            <a:ext cx="7409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Корея 1</a:t>
            </a:r>
            <a:endParaRPr lang="en-US" sz="1200" dirty="0"/>
          </a:p>
        </p:txBody>
      </p:sp>
      <p:sp>
        <p:nvSpPr>
          <p:cNvPr id="165" name="TextBox 164"/>
          <p:cNvSpPr txBox="1"/>
          <p:nvPr/>
        </p:nvSpPr>
        <p:spPr>
          <a:xfrm>
            <a:off x="6309672" y="4883803"/>
            <a:ext cx="7409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200" dirty="0"/>
              <a:t>Корея 2</a:t>
            </a:r>
            <a:endParaRPr lang="en-US" sz="1200" dirty="0"/>
          </a:p>
        </p:txBody>
      </p:sp>
      <p:sp>
        <p:nvSpPr>
          <p:cNvPr id="166" name="TextBox 165"/>
          <p:cNvSpPr txBox="1"/>
          <p:nvPr/>
        </p:nvSpPr>
        <p:spPr>
          <a:xfrm>
            <a:off x="6077093" y="5451724"/>
            <a:ext cx="12616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400" b="1" dirty="0">
                <a:solidFill>
                  <a:srgbClr val="FF0000"/>
                </a:solidFill>
              </a:rPr>
              <a:t>КАЗАХСТАН</a:t>
            </a:r>
            <a:endParaRPr lang="en-US" sz="1400" b="1" dirty="0">
              <a:solidFill>
                <a:srgbClr val="FF0000"/>
              </a:solidFill>
            </a:endParaRPr>
          </a:p>
        </p:txBody>
      </p:sp>
      <p:sp>
        <p:nvSpPr>
          <p:cNvPr id="167" name="Прямоугольник 166"/>
          <p:cNvSpPr/>
          <p:nvPr/>
        </p:nvSpPr>
        <p:spPr>
          <a:xfrm>
            <a:off x="9646422" y="1195844"/>
            <a:ext cx="893103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8" name="Прямоугольник 167"/>
          <p:cNvSpPr/>
          <p:nvPr/>
        </p:nvSpPr>
        <p:spPr>
          <a:xfrm>
            <a:off x="10490090" y="1191957"/>
            <a:ext cx="1074954" cy="299476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ец-</a:t>
            </a:r>
            <a:r>
              <a:rPr lang="ru-RU" sz="105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9" name="Прямоугольный треугольник 168"/>
          <p:cNvSpPr/>
          <p:nvPr/>
        </p:nvSpPr>
        <p:spPr>
          <a:xfrm rot="5400000">
            <a:off x="11612384" y="1160344"/>
            <a:ext cx="272984" cy="349910"/>
          </a:xfrm>
          <a:prstGeom prst="rtTriangle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Прямоугольник 170"/>
          <p:cNvSpPr/>
          <p:nvPr/>
        </p:nvSpPr>
        <p:spPr>
          <a:xfrm>
            <a:off x="10057028" y="1724730"/>
            <a:ext cx="843400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2" name="Прямоугольник 171"/>
          <p:cNvSpPr/>
          <p:nvPr/>
        </p:nvSpPr>
        <p:spPr>
          <a:xfrm>
            <a:off x="10847312" y="1720040"/>
            <a:ext cx="1048800" cy="281831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ец-</a:t>
            </a:r>
            <a:r>
              <a:rPr lang="ru-RU" sz="105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3" name="Прямоугольник 172"/>
          <p:cNvSpPr/>
          <p:nvPr/>
        </p:nvSpPr>
        <p:spPr>
          <a:xfrm>
            <a:off x="9604352" y="2250425"/>
            <a:ext cx="893103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4" name="Прямоугольник 173"/>
          <p:cNvSpPr/>
          <p:nvPr/>
        </p:nvSpPr>
        <p:spPr>
          <a:xfrm>
            <a:off x="10503456" y="2248286"/>
            <a:ext cx="1392655" cy="270600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ециализаци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5" name="Прямоугольник 174"/>
          <p:cNvSpPr/>
          <p:nvPr/>
        </p:nvSpPr>
        <p:spPr>
          <a:xfrm>
            <a:off x="9003626" y="2769242"/>
            <a:ext cx="1504031" cy="265695"/>
          </a:xfrm>
          <a:prstGeom prst="rect">
            <a:avLst/>
          </a:prstGeom>
          <a:solidFill>
            <a:srgbClr val="F7C1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(12)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6" name="Прямоугольник 175"/>
          <p:cNvSpPr/>
          <p:nvPr/>
        </p:nvSpPr>
        <p:spPr>
          <a:xfrm>
            <a:off x="10435755" y="2767744"/>
            <a:ext cx="425441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7" name="Прямоугольник 176"/>
          <p:cNvSpPr/>
          <p:nvPr/>
        </p:nvSpPr>
        <p:spPr>
          <a:xfrm>
            <a:off x="10868541" y="2755842"/>
            <a:ext cx="1048800" cy="281831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ец-</a:t>
            </a:r>
            <a:r>
              <a:rPr lang="ru-RU" sz="105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8" name="Прямоугольный треугольник 177"/>
          <p:cNvSpPr/>
          <p:nvPr/>
        </p:nvSpPr>
        <p:spPr>
          <a:xfrm rot="5400000">
            <a:off x="9398293" y="3238591"/>
            <a:ext cx="272984" cy="349910"/>
          </a:xfrm>
          <a:prstGeom prst="rtTriangle">
            <a:avLst/>
          </a:prstGeom>
          <a:solidFill>
            <a:srgbClr val="A6CE4F"/>
          </a:solidFill>
          <a:ln>
            <a:solidFill>
              <a:srgbClr val="A6CE4F"/>
            </a:solidFill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2" name="TextBox 131"/>
          <p:cNvSpPr txBox="1"/>
          <p:nvPr/>
        </p:nvSpPr>
        <p:spPr>
          <a:xfrm>
            <a:off x="9281355" y="3333417"/>
            <a:ext cx="90280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1" name="Прямоугольник 180"/>
          <p:cNvSpPr/>
          <p:nvPr/>
        </p:nvSpPr>
        <p:spPr>
          <a:xfrm>
            <a:off x="10096874" y="3286220"/>
            <a:ext cx="1102385" cy="281831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ециализаци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2" name="Прямоугольный треугольник 181"/>
          <p:cNvSpPr/>
          <p:nvPr/>
        </p:nvSpPr>
        <p:spPr>
          <a:xfrm rot="5400000">
            <a:off x="11416275" y="3079368"/>
            <a:ext cx="272984" cy="686688"/>
          </a:xfrm>
          <a:prstGeom prst="rtTriangle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" name="Прямоугольник 183"/>
          <p:cNvSpPr/>
          <p:nvPr/>
        </p:nvSpPr>
        <p:spPr>
          <a:xfrm>
            <a:off x="9359687" y="3823732"/>
            <a:ext cx="531800" cy="27869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5" name="Прямоугольник 184"/>
          <p:cNvSpPr/>
          <p:nvPr/>
        </p:nvSpPr>
        <p:spPr>
          <a:xfrm>
            <a:off x="9891485" y="3823732"/>
            <a:ext cx="919569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язательства</a:t>
            </a:r>
            <a:endParaRPr lang="en-US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6" name="Прямоугольник 185"/>
          <p:cNvSpPr/>
          <p:nvPr/>
        </p:nvSpPr>
        <p:spPr>
          <a:xfrm>
            <a:off x="10808465" y="3809310"/>
            <a:ext cx="918167" cy="281831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ец-</a:t>
            </a:r>
            <a:r>
              <a:rPr lang="ru-RU" sz="105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7" name="Прямоугольный треугольник 186"/>
          <p:cNvSpPr/>
          <p:nvPr/>
        </p:nvSpPr>
        <p:spPr>
          <a:xfrm rot="5400000">
            <a:off x="11688246" y="3853535"/>
            <a:ext cx="272984" cy="198186"/>
          </a:xfrm>
          <a:prstGeom prst="rtTriangle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8" name="Прямоугольник 187"/>
          <p:cNvSpPr/>
          <p:nvPr/>
        </p:nvSpPr>
        <p:spPr>
          <a:xfrm>
            <a:off x="9017860" y="4341454"/>
            <a:ext cx="1438307" cy="265695"/>
          </a:xfrm>
          <a:prstGeom prst="rect">
            <a:avLst/>
          </a:prstGeom>
          <a:solidFill>
            <a:srgbClr val="F7C1D9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 школа (10)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9" name="Прямоугольник 188"/>
          <p:cNvSpPr/>
          <p:nvPr/>
        </p:nvSpPr>
        <p:spPr>
          <a:xfrm>
            <a:off x="10472096" y="4339344"/>
            <a:ext cx="425441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1" name="Прямоугольник 190"/>
          <p:cNvSpPr/>
          <p:nvPr/>
        </p:nvSpPr>
        <p:spPr>
          <a:xfrm>
            <a:off x="10868541" y="4328736"/>
            <a:ext cx="1048800" cy="281831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ец-</a:t>
            </a:r>
            <a:r>
              <a:rPr lang="ru-RU" sz="105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3" name="Прямоугольник 192"/>
          <p:cNvSpPr/>
          <p:nvPr/>
        </p:nvSpPr>
        <p:spPr>
          <a:xfrm>
            <a:off x="9700376" y="4845972"/>
            <a:ext cx="425441" cy="26991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  <a:endParaRPr lang="en-US" sz="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4" name="Прямоугольник 193"/>
          <p:cNvSpPr/>
          <p:nvPr/>
        </p:nvSpPr>
        <p:spPr>
          <a:xfrm>
            <a:off x="10118993" y="4836218"/>
            <a:ext cx="1777118" cy="281831"/>
          </a:xfrm>
          <a:prstGeom prst="rect">
            <a:avLst/>
          </a:prstGeom>
          <a:solidFill>
            <a:srgbClr val="FFF79A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5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ец-</a:t>
            </a:r>
            <a:r>
              <a:rPr lang="ru-RU" sz="105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ия</a:t>
            </a:r>
            <a:endParaRPr lang="en-US" sz="10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6" name="Прямоугольник 195"/>
          <p:cNvSpPr/>
          <p:nvPr/>
        </p:nvSpPr>
        <p:spPr>
          <a:xfrm>
            <a:off x="9587924" y="3645440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197" name="Прямоугольник 196"/>
          <p:cNvSpPr/>
          <p:nvPr/>
        </p:nvSpPr>
        <p:spPr>
          <a:xfrm>
            <a:off x="8696531" y="3602511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198" name="Прямоугольник 197"/>
          <p:cNvSpPr/>
          <p:nvPr/>
        </p:nvSpPr>
        <p:spPr>
          <a:xfrm>
            <a:off x="9848905" y="3078164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199" name="Прямоугольник 198"/>
          <p:cNvSpPr/>
          <p:nvPr/>
        </p:nvSpPr>
        <p:spPr>
          <a:xfrm>
            <a:off x="8921913" y="3077060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200" name="Прямоугольник 199"/>
          <p:cNvSpPr/>
          <p:nvPr/>
        </p:nvSpPr>
        <p:spPr>
          <a:xfrm>
            <a:off x="10684816" y="2581805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201" name="Прямоугольник 200"/>
          <p:cNvSpPr/>
          <p:nvPr/>
        </p:nvSpPr>
        <p:spPr>
          <a:xfrm>
            <a:off x="9795449" y="2580273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202" name="Прямоугольник 201"/>
          <p:cNvSpPr/>
          <p:nvPr/>
        </p:nvSpPr>
        <p:spPr>
          <a:xfrm>
            <a:off x="9077091" y="2066036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203" name="Прямоугольник 202"/>
          <p:cNvSpPr/>
          <p:nvPr/>
        </p:nvSpPr>
        <p:spPr>
          <a:xfrm>
            <a:off x="10120343" y="2065192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sp>
        <p:nvSpPr>
          <p:cNvPr id="204" name="Прямоугольник 203"/>
          <p:cNvSpPr/>
          <p:nvPr/>
        </p:nvSpPr>
        <p:spPr>
          <a:xfrm>
            <a:off x="9050064" y="4629913"/>
            <a:ext cx="1075582" cy="135526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 err="1"/>
              <a:t>Нац</a:t>
            </a:r>
            <a:r>
              <a:rPr lang="ru-RU" sz="700" dirty="0"/>
              <a:t> тест</a:t>
            </a:r>
            <a:endParaRPr lang="en-US" sz="700" dirty="0"/>
          </a:p>
        </p:txBody>
      </p:sp>
      <p:sp>
        <p:nvSpPr>
          <p:cNvPr id="205" name="Прямоугольник 204"/>
          <p:cNvSpPr/>
          <p:nvPr/>
        </p:nvSpPr>
        <p:spPr>
          <a:xfrm>
            <a:off x="10571080" y="1492885"/>
            <a:ext cx="1075582" cy="135526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 err="1"/>
              <a:t>Нац</a:t>
            </a:r>
            <a:r>
              <a:rPr lang="ru-RU" sz="700" dirty="0"/>
              <a:t> тест</a:t>
            </a:r>
            <a:endParaRPr lang="en-US" sz="700" dirty="0"/>
          </a:p>
        </p:txBody>
      </p:sp>
      <p:sp>
        <p:nvSpPr>
          <p:cNvPr id="206" name="Прямоугольник 205"/>
          <p:cNvSpPr/>
          <p:nvPr/>
        </p:nvSpPr>
        <p:spPr>
          <a:xfrm>
            <a:off x="9475737" y="1518415"/>
            <a:ext cx="746335" cy="92394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kk-KZ" sz="700" dirty="0"/>
              <a:t>Регистрация</a:t>
            </a:r>
            <a:endParaRPr lang="en-US" sz="700" dirty="0"/>
          </a:p>
        </p:txBody>
      </p:sp>
      <p:cxnSp>
        <p:nvCxnSpPr>
          <p:cNvPr id="207" name="Прямая со стрелкой 206"/>
          <p:cNvCxnSpPr/>
          <p:nvPr/>
        </p:nvCxnSpPr>
        <p:spPr>
          <a:xfrm flipH="1">
            <a:off x="10839791" y="1618787"/>
            <a:ext cx="68397" cy="1372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8" name="Прямая со стрелкой 207"/>
          <p:cNvCxnSpPr/>
          <p:nvPr/>
        </p:nvCxnSpPr>
        <p:spPr>
          <a:xfrm>
            <a:off x="9993203" y="1623287"/>
            <a:ext cx="51598" cy="153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3" name="Прямая со стрелкой 212"/>
          <p:cNvCxnSpPr/>
          <p:nvPr/>
        </p:nvCxnSpPr>
        <p:spPr>
          <a:xfrm>
            <a:off x="9575332" y="2187347"/>
            <a:ext cx="51598" cy="1533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4" name="Прямая со стрелкой 213"/>
          <p:cNvCxnSpPr/>
          <p:nvPr/>
        </p:nvCxnSpPr>
        <p:spPr>
          <a:xfrm flipH="1">
            <a:off x="10454128" y="2158071"/>
            <a:ext cx="68397" cy="1372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5" name="Прямая со стрелкой 214"/>
          <p:cNvCxnSpPr/>
          <p:nvPr/>
        </p:nvCxnSpPr>
        <p:spPr>
          <a:xfrm flipH="1">
            <a:off x="10852387" y="2694470"/>
            <a:ext cx="68397" cy="1372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" name="Прямая со стрелкой 215"/>
          <p:cNvCxnSpPr/>
          <p:nvPr/>
        </p:nvCxnSpPr>
        <p:spPr>
          <a:xfrm flipH="1">
            <a:off x="10076474" y="3159075"/>
            <a:ext cx="68397" cy="1372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8" name="Прямая со стрелкой 217"/>
          <p:cNvCxnSpPr/>
          <p:nvPr/>
        </p:nvCxnSpPr>
        <p:spPr>
          <a:xfrm flipH="1">
            <a:off x="9883857" y="3740995"/>
            <a:ext cx="63852" cy="117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9" name="Прямая со стрелкой 218"/>
          <p:cNvCxnSpPr/>
          <p:nvPr/>
        </p:nvCxnSpPr>
        <p:spPr>
          <a:xfrm flipH="1">
            <a:off x="9690533" y="4785061"/>
            <a:ext cx="63852" cy="11749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2" name="Прямая со стрелкой 221"/>
          <p:cNvCxnSpPr/>
          <p:nvPr/>
        </p:nvCxnSpPr>
        <p:spPr>
          <a:xfrm flipH="1">
            <a:off x="10442177" y="4235311"/>
            <a:ext cx="68397" cy="1372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4" name="Прямоугольник 223"/>
          <p:cNvSpPr/>
          <p:nvPr/>
        </p:nvSpPr>
        <p:spPr>
          <a:xfrm>
            <a:off x="9857554" y="4126783"/>
            <a:ext cx="1075582" cy="135526"/>
          </a:xfrm>
          <a:prstGeom prst="rect">
            <a:avLst/>
          </a:prstGeom>
          <a:ln w="12700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700" dirty="0" err="1"/>
              <a:t>Нац</a:t>
            </a:r>
            <a:r>
              <a:rPr lang="ru-RU" sz="700" dirty="0"/>
              <a:t> тест</a:t>
            </a:r>
            <a:endParaRPr lang="en-US" sz="700" dirty="0"/>
          </a:p>
        </p:txBody>
      </p:sp>
      <p:cxnSp>
        <p:nvCxnSpPr>
          <p:cNvPr id="225" name="Прямая со стрелкой 224"/>
          <p:cNvCxnSpPr/>
          <p:nvPr/>
        </p:nvCxnSpPr>
        <p:spPr>
          <a:xfrm>
            <a:off x="9344175" y="3204344"/>
            <a:ext cx="0" cy="138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Прямая со стрелкой 225"/>
          <p:cNvCxnSpPr/>
          <p:nvPr/>
        </p:nvCxnSpPr>
        <p:spPr>
          <a:xfrm>
            <a:off x="9357120" y="3709289"/>
            <a:ext cx="0" cy="138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7" name="Прямая со стрелкой 226"/>
          <p:cNvCxnSpPr/>
          <p:nvPr/>
        </p:nvCxnSpPr>
        <p:spPr>
          <a:xfrm>
            <a:off x="10435755" y="2651071"/>
            <a:ext cx="0" cy="1382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8" name="Прямоугольник 227"/>
          <p:cNvSpPr/>
          <p:nvPr/>
        </p:nvSpPr>
        <p:spPr>
          <a:xfrm>
            <a:off x="9702180" y="5352018"/>
            <a:ext cx="1101880" cy="425433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езидентура</a:t>
            </a:r>
          </a:p>
          <a:p>
            <a:pPr algn="ctr"/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-5 лет </a:t>
            </a:r>
            <a:endParaRPr lang="en-US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0" name="Прямоугольный треугольник 229"/>
          <p:cNvSpPr/>
          <p:nvPr/>
        </p:nvSpPr>
        <p:spPr>
          <a:xfrm>
            <a:off x="10795894" y="5358047"/>
            <a:ext cx="1100217" cy="407341"/>
          </a:xfrm>
          <a:prstGeom prst="rtTriangl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2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3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4397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Полилиния 84"/>
          <p:cNvSpPr/>
          <p:nvPr/>
        </p:nvSpPr>
        <p:spPr>
          <a:xfrm>
            <a:off x="9360305" y="727787"/>
            <a:ext cx="2719709" cy="6083559"/>
          </a:xfrm>
          <a:custGeom>
            <a:avLst/>
            <a:gdLst>
              <a:gd name="connsiteX0" fmla="*/ 1884784 w 1884784"/>
              <a:gd name="connsiteY0" fmla="*/ 5840963 h 6083559"/>
              <a:gd name="connsiteX1" fmla="*/ 1698171 w 1884784"/>
              <a:gd name="connsiteY1" fmla="*/ 6077339 h 6083559"/>
              <a:gd name="connsiteX2" fmla="*/ 192832 w 1884784"/>
              <a:gd name="connsiteY2" fmla="*/ 6083559 h 6083559"/>
              <a:gd name="connsiteX3" fmla="*/ 0 w 1884784"/>
              <a:gd name="connsiteY3" fmla="*/ 5896947 h 6083559"/>
              <a:gd name="connsiteX4" fmla="*/ 0 w 1884784"/>
              <a:gd name="connsiteY4" fmla="*/ 242596 h 6083559"/>
              <a:gd name="connsiteX5" fmla="*/ 199053 w 1884784"/>
              <a:gd name="connsiteY5" fmla="*/ 0 h 6083559"/>
              <a:gd name="connsiteX6" fmla="*/ 1660849 w 1884784"/>
              <a:gd name="connsiteY6" fmla="*/ 6220 h 6083559"/>
              <a:gd name="connsiteX7" fmla="*/ 1872343 w 1884784"/>
              <a:gd name="connsiteY7" fmla="*/ 211494 h 6083559"/>
              <a:gd name="connsiteX8" fmla="*/ 1884784 w 1884784"/>
              <a:gd name="connsiteY8" fmla="*/ 5840963 h 6083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4784" h="6083559">
                <a:moveTo>
                  <a:pt x="1884784" y="5840963"/>
                </a:moveTo>
                <a:lnTo>
                  <a:pt x="1698171" y="6077339"/>
                </a:lnTo>
                <a:lnTo>
                  <a:pt x="192832" y="6083559"/>
                </a:lnTo>
                <a:lnTo>
                  <a:pt x="0" y="5896947"/>
                </a:lnTo>
                <a:lnTo>
                  <a:pt x="0" y="242596"/>
                </a:lnTo>
                <a:lnTo>
                  <a:pt x="199053" y="0"/>
                </a:lnTo>
                <a:lnTo>
                  <a:pt x="1660849" y="6220"/>
                </a:lnTo>
                <a:lnTo>
                  <a:pt x="1872343" y="211494"/>
                </a:lnTo>
                <a:lnTo>
                  <a:pt x="1884784" y="5840963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  <a:alpha val="1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Полилиния 75"/>
          <p:cNvSpPr/>
          <p:nvPr/>
        </p:nvSpPr>
        <p:spPr>
          <a:xfrm>
            <a:off x="6409561" y="726784"/>
            <a:ext cx="2777366" cy="6083559"/>
          </a:xfrm>
          <a:custGeom>
            <a:avLst/>
            <a:gdLst>
              <a:gd name="connsiteX0" fmla="*/ 1884784 w 1884784"/>
              <a:gd name="connsiteY0" fmla="*/ 5840963 h 6083559"/>
              <a:gd name="connsiteX1" fmla="*/ 1698171 w 1884784"/>
              <a:gd name="connsiteY1" fmla="*/ 6077339 h 6083559"/>
              <a:gd name="connsiteX2" fmla="*/ 192832 w 1884784"/>
              <a:gd name="connsiteY2" fmla="*/ 6083559 h 6083559"/>
              <a:gd name="connsiteX3" fmla="*/ 0 w 1884784"/>
              <a:gd name="connsiteY3" fmla="*/ 5896947 h 6083559"/>
              <a:gd name="connsiteX4" fmla="*/ 0 w 1884784"/>
              <a:gd name="connsiteY4" fmla="*/ 242596 h 6083559"/>
              <a:gd name="connsiteX5" fmla="*/ 199053 w 1884784"/>
              <a:gd name="connsiteY5" fmla="*/ 0 h 6083559"/>
              <a:gd name="connsiteX6" fmla="*/ 1660849 w 1884784"/>
              <a:gd name="connsiteY6" fmla="*/ 6220 h 6083559"/>
              <a:gd name="connsiteX7" fmla="*/ 1872343 w 1884784"/>
              <a:gd name="connsiteY7" fmla="*/ 211494 h 6083559"/>
              <a:gd name="connsiteX8" fmla="*/ 1884784 w 1884784"/>
              <a:gd name="connsiteY8" fmla="*/ 5840963 h 6083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4784" h="6083559">
                <a:moveTo>
                  <a:pt x="1884784" y="5840963"/>
                </a:moveTo>
                <a:lnTo>
                  <a:pt x="1698171" y="6077339"/>
                </a:lnTo>
                <a:lnTo>
                  <a:pt x="192832" y="6083559"/>
                </a:lnTo>
                <a:lnTo>
                  <a:pt x="0" y="5896947"/>
                </a:lnTo>
                <a:lnTo>
                  <a:pt x="0" y="242596"/>
                </a:lnTo>
                <a:lnTo>
                  <a:pt x="199053" y="0"/>
                </a:lnTo>
                <a:lnTo>
                  <a:pt x="1660849" y="6220"/>
                </a:lnTo>
                <a:lnTo>
                  <a:pt x="1872343" y="211494"/>
                </a:lnTo>
                <a:lnTo>
                  <a:pt x="1884784" y="5840963"/>
                </a:lnTo>
                <a:close/>
              </a:path>
            </a:pathLst>
          </a:custGeom>
          <a:solidFill>
            <a:schemeClr val="accent2">
              <a:alpha val="1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4" name="Полилиния 73"/>
          <p:cNvSpPr/>
          <p:nvPr/>
        </p:nvSpPr>
        <p:spPr>
          <a:xfrm>
            <a:off x="3239089" y="720467"/>
            <a:ext cx="2992361" cy="6083559"/>
          </a:xfrm>
          <a:custGeom>
            <a:avLst/>
            <a:gdLst>
              <a:gd name="connsiteX0" fmla="*/ 1884784 w 1884784"/>
              <a:gd name="connsiteY0" fmla="*/ 5840963 h 6083559"/>
              <a:gd name="connsiteX1" fmla="*/ 1698171 w 1884784"/>
              <a:gd name="connsiteY1" fmla="*/ 6077339 h 6083559"/>
              <a:gd name="connsiteX2" fmla="*/ 192832 w 1884784"/>
              <a:gd name="connsiteY2" fmla="*/ 6083559 h 6083559"/>
              <a:gd name="connsiteX3" fmla="*/ 0 w 1884784"/>
              <a:gd name="connsiteY3" fmla="*/ 5896947 h 6083559"/>
              <a:gd name="connsiteX4" fmla="*/ 0 w 1884784"/>
              <a:gd name="connsiteY4" fmla="*/ 242596 h 6083559"/>
              <a:gd name="connsiteX5" fmla="*/ 199053 w 1884784"/>
              <a:gd name="connsiteY5" fmla="*/ 0 h 6083559"/>
              <a:gd name="connsiteX6" fmla="*/ 1660849 w 1884784"/>
              <a:gd name="connsiteY6" fmla="*/ 6220 h 6083559"/>
              <a:gd name="connsiteX7" fmla="*/ 1872343 w 1884784"/>
              <a:gd name="connsiteY7" fmla="*/ 211494 h 6083559"/>
              <a:gd name="connsiteX8" fmla="*/ 1884784 w 1884784"/>
              <a:gd name="connsiteY8" fmla="*/ 5840963 h 6083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4784" h="6083559">
                <a:moveTo>
                  <a:pt x="1884784" y="5840963"/>
                </a:moveTo>
                <a:lnTo>
                  <a:pt x="1698171" y="6077339"/>
                </a:lnTo>
                <a:lnTo>
                  <a:pt x="192832" y="6083559"/>
                </a:lnTo>
                <a:lnTo>
                  <a:pt x="0" y="5896947"/>
                </a:lnTo>
                <a:lnTo>
                  <a:pt x="0" y="242596"/>
                </a:lnTo>
                <a:lnTo>
                  <a:pt x="199053" y="0"/>
                </a:lnTo>
                <a:lnTo>
                  <a:pt x="1660849" y="6220"/>
                </a:lnTo>
                <a:lnTo>
                  <a:pt x="1872343" y="211494"/>
                </a:lnTo>
                <a:lnTo>
                  <a:pt x="1884784" y="5840963"/>
                </a:lnTo>
                <a:close/>
              </a:path>
            </a:pathLst>
          </a:custGeom>
          <a:solidFill>
            <a:schemeClr val="accent6">
              <a:lumMod val="75000"/>
              <a:alpha val="1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олилиния 6"/>
          <p:cNvSpPr/>
          <p:nvPr/>
        </p:nvSpPr>
        <p:spPr>
          <a:xfrm>
            <a:off x="146131" y="727788"/>
            <a:ext cx="2931832" cy="6083559"/>
          </a:xfrm>
          <a:custGeom>
            <a:avLst/>
            <a:gdLst>
              <a:gd name="connsiteX0" fmla="*/ 1884784 w 1884784"/>
              <a:gd name="connsiteY0" fmla="*/ 5840963 h 6083559"/>
              <a:gd name="connsiteX1" fmla="*/ 1698171 w 1884784"/>
              <a:gd name="connsiteY1" fmla="*/ 6077339 h 6083559"/>
              <a:gd name="connsiteX2" fmla="*/ 192832 w 1884784"/>
              <a:gd name="connsiteY2" fmla="*/ 6083559 h 6083559"/>
              <a:gd name="connsiteX3" fmla="*/ 0 w 1884784"/>
              <a:gd name="connsiteY3" fmla="*/ 5896947 h 6083559"/>
              <a:gd name="connsiteX4" fmla="*/ 0 w 1884784"/>
              <a:gd name="connsiteY4" fmla="*/ 242596 h 6083559"/>
              <a:gd name="connsiteX5" fmla="*/ 199053 w 1884784"/>
              <a:gd name="connsiteY5" fmla="*/ 0 h 6083559"/>
              <a:gd name="connsiteX6" fmla="*/ 1660849 w 1884784"/>
              <a:gd name="connsiteY6" fmla="*/ 6220 h 6083559"/>
              <a:gd name="connsiteX7" fmla="*/ 1872343 w 1884784"/>
              <a:gd name="connsiteY7" fmla="*/ 211494 h 6083559"/>
              <a:gd name="connsiteX8" fmla="*/ 1884784 w 1884784"/>
              <a:gd name="connsiteY8" fmla="*/ 5840963 h 6083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884784" h="6083559">
                <a:moveTo>
                  <a:pt x="1884784" y="5840963"/>
                </a:moveTo>
                <a:lnTo>
                  <a:pt x="1698171" y="6077339"/>
                </a:lnTo>
                <a:lnTo>
                  <a:pt x="192832" y="6083559"/>
                </a:lnTo>
                <a:lnTo>
                  <a:pt x="0" y="5896947"/>
                </a:lnTo>
                <a:lnTo>
                  <a:pt x="0" y="242596"/>
                </a:lnTo>
                <a:lnTo>
                  <a:pt x="199053" y="0"/>
                </a:lnTo>
                <a:lnTo>
                  <a:pt x="1660849" y="6220"/>
                </a:lnTo>
                <a:lnTo>
                  <a:pt x="1872343" y="211494"/>
                </a:lnTo>
                <a:lnTo>
                  <a:pt x="1884784" y="5840963"/>
                </a:lnTo>
                <a:close/>
              </a:path>
            </a:pathLst>
          </a:custGeom>
          <a:solidFill>
            <a:schemeClr val="accent1">
              <a:alpha val="1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668585" y="43152"/>
            <a:ext cx="8730481" cy="471901"/>
          </a:xfrm>
          <a:prstGeom prst="roundRect">
            <a:avLst>
              <a:gd name="adj" fmla="val 50000"/>
            </a:avLst>
          </a:prstGeom>
          <a:solidFill>
            <a:srgbClr val="E7EAF3">
              <a:alpha val="12000"/>
            </a:srgb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прерывное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рофессиональное развитие 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335899" y="2033121"/>
            <a:ext cx="2380086" cy="462289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400" b="1" dirty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ециалист</a:t>
            </a:r>
            <a:endParaRPr lang="ru-RU" sz="1050" b="1" dirty="0">
              <a:solidFill>
                <a:schemeClr val="accent4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r>
              <a:rPr lang="ru-RU" sz="1050" dirty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Бакалавриат)</a:t>
            </a:r>
            <a:endParaRPr lang="ru-RU" sz="1200" dirty="0">
              <a:solidFill>
                <a:schemeClr val="accent4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8" name="Diagram group"/>
          <p:cNvGrpSpPr/>
          <p:nvPr/>
        </p:nvGrpSpPr>
        <p:grpSpPr>
          <a:xfrm>
            <a:off x="275812" y="876074"/>
            <a:ext cx="2550793" cy="847855"/>
            <a:chOff x="0" y="0"/>
            <a:chExt cx="1709004" cy="1196247"/>
          </a:xfrm>
          <a:solidFill>
            <a:srgbClr val="92D050"/>
          </a:solidFill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grpSp>
          <p:nvGrpSpPr>
            <p:cNvPr id="19" name="Группа 18"/>
            <p:cNvGrpSpPr/>
            <p:nvPr/>
          </p:nvGrpSpPr>
          <p:grpSpPr>
            <a:xfrm>
              <a:off x="0" y="0"/>
              <a:ext cx="1709004" cy="1196247"/>
              <a:chOff x="0" y="0"/>
              <a:chExt cx="1709004" cy="1196247"/>
            </a:xfrm>
            <a:grpFill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</p:grpSpPr>
          <p:sp>
            <p:nvSpPr>
              <p:cNvPr id="20" name="Скругленный прямоугольник 19"/>
              <p:cNvSpPr/>
              <p:nvPr/>
            </p:nvSpPr>
            <p:spPr>
              <a:xfrm>
                <a:off x="0" y="0"/>
                <a:ext cx="1709004" cy="1196247"/>
              </a:xfrm>
              <a:prstGeom prst="roundRect">
                <a:avLst>
                  <a:gd name="adj" fmla="val 16670"/>
                </a:avLst>
              </a:prstGeom>
              <a:ln/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</p:sp>
          <p:sp>
            <p:nvSpPr>
              <p:cNvPr id="21" name="Скругленный прямоугольник 4"/>
              <p:cNvSpPr txBox="1"/>
              <p:nvPr/>
            </p:nvSpPr>
            <p:spPr>
              <a:xfrm>
                <a:off x="58406" y="58406"/>
                <a:ext cx="1592192" cy="1079435"/>
              </a:xfrm>
              <a:prstGeom prst="rect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800" b="1" kern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Формальное</a:t>
                </a:r>
                <a:endParaRPr lang="en-US" sz="1800" b="1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kk-KZ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образование</a:t>
                </a:r>
                <a:r>
                  <a:rPr lang="ru-RU" sz="1800" kern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</a:p>
            </p:txBody>
          </p:sp>
        </p:grpSp>
      </p:grpSp>
      <p:sp>
        <p:nvSpPr>
          <p:cNvPr id="35" name="Скругленный прямоугольник 34"/>
          <p:cNvSpPr/>
          <p:nvPr/>
        </p:nvSpPr>
        <p:spPr>
          <a:xfrm>
            <a:off x="6703425" y="4394901"/>
            <a:ext cx="2160646" cy="2213301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ртификационные курсы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 кредитов (300 часов) и более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рамках основной специальности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обретение квалификации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лежат оценке и сертификации</a:t>
            </a:r>
          </a:p>
          <a:p>
            <a:pPr algn="ctr">
              <a:lnSpc>
                <a:spcPct val="115000"/>
              </a:lnSpc>
            </a:pP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352340" y="4923632"/>
            <a:ext cx="2380088" cy="605525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ач узкой  специализации</a:t>
            </a:r>
          </a:p>
          <a:p>
            <a:pPr algn="ctr">
              <a:lnSpc>
                <a:spcPct val="115000"/>
              </a:lnSpc>
            </a:pPr>
            <a:r>
              <a:rPr lang="ru-RU" sz="105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Резидентура)</a:t>
            </a:r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362987" y="2883219"/>
            <a:ext cx="2380086" cy="589511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ач общего профиля</a:t>
            </a:r>
          </a:p>
          <a:p>
            <a:pPr algn="ctr">
              <a:lnSpc>
                <a:spcPct val="115000"/>
              </a:lnSpc>
            </a:pPr>
            <a:r>
              <a:rPr lang="ru-RU" sz="1050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Интернатура)</a:t>
            </a:r>
            <a:endParaRPr lang="ru-RU" sz="1200" dirty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335897" y="5890724"/>
            <a:ext cx="2380088" cy="827271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гистр, </a:t>
            </a:r>
            <a:r>
              <a:rPr lang="en-US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D</a:t>
            </a: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к.м.н., д.м.н., </a:t>
            </a:r>
            <a:r>
              <a:rPr lang="ru-RU" sz="105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Магистратура / докторантура)</a:t>
            </a:r>
          </a:p>
        </p:txBody>
      </p:sp>
      <p:grpSp>
        <p:nvGrpSpPr>
          <p:cNvPr id="77" name="Diagram group"/>
          <p:cNvGrpSpPr/>
          <p:nvPr/>
        </p:nvGrpSpPr>
        <p:grpSpPr>
          <a:xfrm>
            <a:off x="6669137" y="884774"/>
            <a:ext cx="2231483" cy="847855"/>
            <a:chOff x="0" y="0"/>
            <a:chExt cx="1709004" cy="1196247"/>
          </a:xfrm>
          <a:solidFill>
            <a:schemeClr val="accent1">
              <a:lumMod val="60000"/>
              <a:lumOff val="40000"/>
            </a:schemeClr>
          </a:solidFill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grpSp>
          <p:nvGrpSpPr>
            <p:cNvPr id="78" name="Группа 77"/>
            <p:cNvGrpSpPr/>
            <p:nvPr/>
          </p:nvGrpSpPr>
          <p:grpSpPr>
            <a:xfrm>
              <a:off x="0" y="0"/>
              <a:ext cx="1709004" cy="1196247"/>
              <a:chOff x="0" y="0"/>
              <a:chExt cx="1709004" cy="1196247"/>
            </a:xfrm>
            <a:grpFill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</p:grpSpPr>
          <p:sp>
            <p:nvSpPr>
              <p:cNvPr id="79" name="Скругленный прямоугольник 78"/>
              <p:cNvSpPr/>
              <p:nvPr/>
            </p:nvSpPr>
            <p:spPr>
              <a:xfrm>
                <a:off x="0" y="0"/>
                <a:ext cx="1709004" cy="1196247"/>
              </a:xfrm>
              <a:prstGeom prst="roundRect">
                <a:avLst>
                  <a:gd name="adj" fmla="val 16670"/>
                </a:avLst>
              </a:prstGeom>
              <a:ln/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</p:sp>
          <p:sp>
            <p:nvSpPr>
              <p:cNvPr id="80" name="Скругленный прямоугольник 4"/>
              <p:cNvSpPr txBox="1"/>
              <p:nvPr/>
            </p:nvSpPr>
            <p:spPr>
              <a:xfrm>
                <a:off x="58406" y="58406"/>
                <a:ext cx="1592192" cy="1079435"/>
              </a:xfrm>
              <a:prstGeom prst="rect">
                <a:avLst/>
              </a:prstGeom>
            </p:spPr>
            <p:style>
              <a:lnRef idx="2">
                <a:schemeClr val="accent2"/>
              </a:lnRef>
              <a:fillRef idx="1">
                <a:schemeClr val="lt1"/>
              </a:fillRef>
              <a:effectRef idx="0">
                <a:schemeClr val="accent2"/>
              </a:effectRef>
              <a:fontRef idx="minor">
                <a:schemeClr val="dk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Дополнительное </a:t>
                </a:r>
                <a:r>
                  <a:rPr lang="kk-KZ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образование</a:t>
                </a:r>
                <a:r>
                  <a:rPr lang="ru-RU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endParaRPr lang="ru-RU" sz="18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81" name="Diagram group"/>
          <p:cNvGrpSpPr/>
          <p:nvPr/>
        </p:nvGrpSpPr>
        <p:grpSpPr>
          <a:xfrm>
            <a:off x="9591868" y="884774"/>
            <a:ext cx="2289093" cy="847855"/>
            <a:chOff x="0" y="0"/>
            <a:chExt cx="1709004" cy="1196247"/>
          </a:xfrm>
          <a:solidFill>
            <a:schemeClr val="accent2">
              <a:lumMod val="60000"/>
              <a:lumOff val="40000"/>
            </a:schemeClr>
          </a:solidFill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grpSp>
          <p:nvGrpSpPr>
            <p:cNvPr id="82" name="Группа 81"/>
            <p:cNvGrpSpPr/>
            <p:nvPr/>
          </p:nvGrpSpPr>
          <p:grpSpPr>
            <a:xfrm>
              <a:off x="0" y="0"/>
              <a:ext cx="1709004" cy="1196247"/>
              <a:chOff x="0" y="0"/>
              <a:chExt cx="1709004" cy="1196247"/>
            </a:xfrm>
            <a:grpFill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</p:grpSpPr>
          <p:sp>
            <p:nvSpPr>
              <p:cNvPr id="83" name="Скругленный прямоугольник 82"/>
              <p:cNvSpPr/>
              <p:nvPr/>
            </p:nvSpPr>
            <p:spPr>
              <a:xfrm>
                <a:off x="0" y="0"/>
                <a:ext cx="1709004" cy="1196247"/>
              </a:xfrm>
              <a:prstGeom prst="roundRect">
                <a:avLst>
                  <a:gd name="adj" fmla="val 16670"/>
                </a:avLst>
              </a:prstGeom>
              <a:ln/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</p:sp>
          <p:sp>
            <p:nvSpPr>
              <p:cNvPr id="84" name="Скругленный прямоугольник 4"/>
              <p:cNvSpPr txBox="1"/>
              <p:nvPr/>
            </p:nvSpPr>
            <p:spPr>
              <a:xfrm>
                <a:off x="58406" y="58406"/>
                <a:ext cx="1592192" cy="1079435"/>
              </a:xfrm>
              <a:prstGeom prst="rect">
                <a:avLst/>
              </a:prstGeom>
            </p:spPr>
            <p:style>
              <a:lnRef idx="2">
                <a:schemeClr val="accent4"/>
              </a:lnRef>
              <a:fillRef idx="1">
                <a:schemeClr val="lt1"/>
              </a:fillRef>
              <a:effectRef idx="0">
                <a:schemeClr val="accent4"/>
              </a:effectRef>
              <a:fontRef idx="minor">
                <a:schemeClr val="dk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Неформальное</a:t>
                </a:r>
                <a:r>
                  <a:rPr lang="kk-KZ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образование</a:t>
                </a:r>
                <a:endParaRPr lang="ru-RU" sz="18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51" name="Diagram group"/>
          <p:cNvGrpSpPr/>
          <p:nvPr/>
        </p:nvGrpSpPr>
        <p:grpSpPr>
          <a:xfrm>
            <a:off x="3577340" y="868753"/>
            <a:ext cx="2456486" cy="847855"/>
            <a:chOff x="0" y="0"/>
            <a:chExt cx="1709004" cy="1196247"/>
          </a:xfrm>
          <a:solidFill>
            <a:srgbClr val="92D050"/>
          </a:solidFill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</p:grpSpPr>
        <p:grpSp>
          <p:nvGrpSpPr>
            <p:cNvPr id="52" name="Группа 51"/>
            <p:cNvGrpSpPr/>
            <p:nvPr/>
          </p:nvGrpSpPr>
          <p:grpSpPr>
            <a:xfrm>
              <a:off x="0" y="0"/>
              <a:ext cx="1709004" cy="1196247"/>
              <a:chOff x="0" y="0"/>
              <a:chExt cx="1709004" cy="1196247"/>
            </a:xfrm>
            <a:grpFill/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</p:grpSpPr>
          <p:sp>
            <p:nvSpPr>
              <p:cNvPr id="54" name="Скругленный прямоугольник 53"/>
              <p:cNvSpPr/>
              <p:nvPr/>
            </p:nvSpPr>
            <p:spPr>
              <a:xfrm>
                <a:off x="0" y="0"/>
                <a:ext cx="1709004" cy="1196247"/>
              </a:xfrm>
              <a:prstGeom prst="roundRect">
                <a:avLst>
                  <a:gd name="adj" fmla="val 16670"/>
                </a:avLst>
              </a:prstGeom>
              <a:ln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</p:sp>
          <p:sp>
            <p:nvSpPr>
              <p:cNvPr id="55" name="Скругленный прямоугольник 4"/>
              <p:cNvSpPr txBox="1"/>
              <p:nvPr/>
            </p:nvSpPr>
            <p:spPr>
              <a:xfrm>
                <a:off x="58406" y="58406"/>
                <a:ext cx="1592192" cy="1079435"/>
              </a:xfrm>
              <a:prstGeom prst="rect">
                <a:avLst/>
              </a:prstGeom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spcFirstLastPara="0" vert="horz" wrap="square" lIns="68580" tIns="68580" rIns="68580" bIns="68580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kk-KZ" b="1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Отраслевая рамка квалификаций</a:t>
                </a:r>
                <a:endParaRPr lang="ru-RU" sz="1800" b="1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58" name="Скругленный прямоугольник 57"/>
          <p:cNvSpPr/>
          <p:nvPr/>
        </p:nvSpPr>
        <p:spPr>
          <a:xfrm>
            <a:off x="6637249" y="1682533"/>
            <a:ext cx="2101641" cy="3454035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вышение квалификации</a:t>
            </a:r>
          </a:p>
          <a:p>
            <a:pPr algn="ctr">
              <a:lnSpc>
                <a:spcPct val="115000"/>
              </a:lnSpc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рекомендованные)</a:t>
            </a:r>
          </a:p>
          <a:p>
            <a:pPr algn="ctr">
              <a:lnSpc>
                <a:spcPct val="115000"/>
              </a:lnSpc>
            </a:pPr>
            <a:endParaRPr lang="ru-RU" sz="5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кредита (60 часов)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endParaRPr lang="ru-RU" sz="5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кредита (90 часов)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endParaRPr lang="ru-RU" sz="5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 кредита (120 часов)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endParaRPr lang="ru-RU" sz="5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Ø"/>
            </a:pPr>
            <a:r>
              <a:rPr lang="ru-RU" sz="1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кредитов (150 часов)</a:t>
            </a:r>
          </a:p>
          <a:p>
            <a:pPr algn="ctr">
              <a:lnSpc>
                <a:spcPct val="115000"/>
              </a:lnSpc>
            </a:pP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endParaRPr lang="ru-RU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endParaRPr lang="ru-RU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115000"/>
              </a:lnSpc>
            </a:pPr>
            <a:endParaRPr lang="ru-RU" sz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Стрелка вправо 60"/>
          <p:cNvSpPr/>
          <p:nvPr/>
        </p:nvSpPr>
        <p:spPr>
          <a:xfrm>
            <a:off x="2856138" y="2586640"/>
            <a:ext cx="661872" cy="216719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3522970" y="1937717"/>
            <a:ext cx="2393262" cy="837437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ни квалификации</a:t>
            </a:r>
          </a:p>
          <a:p>
            <a:pPr algn="ctr">
              <a:lnSpc>
                <a:spcPct val="115000"/>
              </a:lnSpc>
            </a:pPr>
            <a:r>
              <a:rPr lang="kk-KZ" sz="1600" b="1" dirty="0">
                <a:solidFill>
                  <a:schemeClr val="accent4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,1      5,2      5,3 </a:t>
            </a:r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3574893" y="2784855"/>
            <a:ext cx="2393262" cy="837437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ни квалификации</a:t>
            </a:r>
          </a:p>
          <a:p>
            <a:pPr algn="ctr">
              <a:lnSpc>
                <a:spcPct val="115000"/>
              </a:lnSpc>
            </a:pPr>
            <a:r>
              <a:rPr lang="kk-KZ" sz="1600" b="1" dirty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,1      6,2      6,3 </a:t>
            </a:r>
          </a:p>
        </p:txBody>
      </p:sp>
      <p:sp>
        <p:nvSpPr>
          <p:cNvPr id="67" name="Скругленный прямоугольник 66"/>
          <p:cNvSpPr/>
          <p:nvPr/>
        </p:nvSpPr>
        <p:spPr>
          <a:xfrm>
            <a:off x="3561041" y="4879578"/>
            <a:ext cx="2393262" cy="837437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ни квалификации</a:t>
            </a:r>
          </a:p>
          <a:p>
            <a:pPr algn="ctr">
              <a:lnSpc>
                <a:spcPct val="115000"/>
              </a:lnSpc>
            </a:pPr>
            <a:r>
              <a:rPr lang="kk-KZ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,3      7,4      8,1 </a:t>
            </a: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3553649" y="6015459"/>
            <a:ext cx="2480177" cy="563156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квалификации</a:t>
            </a:r>
          </a:p>
          <a:p>
            <a:pPr algn="ctr">
              <a:lnSpc>
                <a:spcPct val="115000"/>
              </a:lnSpc>
            </a:pPr>
            <a:r>
              <a:rPr lang="kk-KZ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,1 </a:t>
            </a:r>
          </a:p>
        </p:txBody>
      </p:sp>
      <p:sp>
        <p:nvSpPr>
          <p:cNvPr id="71" name="Скругленный прямоугольник 70"/>
          <p:cNvSpPr/>
          <p:nvPr/>
        </p:nvSpPr>
        <p:spPr>
          <a:xfrm>
            <a:off x="335897" y="3933724"/>
            <a:ext cx="2380088" cy="605525"/>
          </a:xfrm>
          <a:prstGeom prst="round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ач-резидент</a:t>
            </a:r>
          </a:p>
        </p:txBody>
      </p:sp>
      <p:sp>
        <p:nvSpPr>
          <p:cNvPr id="72" name="Стрелка вправо 71"/>
          <p:cNvSpPr/>
          <p:nvPr/>
        </p:nvSpPr>
        <p:spPr>
          <a:xfrm>
            <a:off x="2809618" y="4625795"/>
            <a:ext cx="661872" cy="216719"/>
          </a:xfrm>
          <a:prstGeom prst="rightArrow">
            <a:avLst/>
          </a:prstGeom>
          <a:gradFill flip="none" rotWithShape="1">
            <a:gsLst>
              <a:gs pos="0">
                <a:schemeClr val="accent6">
                  <a:lumMod val="67000"/>
                </a:schemeClr>
              </a:gs>
              <a:gs pos="48000">
                <a:schemeClr val="accent6">
                  <a:lumMod val="97000"/>
                  <a:lumOff val="3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3" name="Скругленный прямоугольник 72"/>
          <p:cNvSpPr/>
          <p:nvPr/>
        </p:nvSpPr>
        <p:spPr>
          <a:xfrm>
            <a:off x="3561041" y="3829689"/>
            <a:ext cx="2393262" cy="837437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tlCol="0" anchor="ctr"/>
          <a:lstStyle/>
          <a:p>
            <a:pPr algn="ctr">
              <a:lnSpc>
                <a:spcPct val="115000"/>
              </a:lnSpc>
            </a:pP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ни квалификации</a:t>
            </a:r>
          </a:p>
          <a:p>
            <a:pPr algn="ctr">
              <a:lnSpc>
                <a:spcPct val="115000"/>
              </a:lnSpc>
            </a:pPr>
            <a:r>
              <a:rPr lang="kk-KZ" sz="16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,1     7,2</a:t>
            </a:r>
          </a:p>
        </p:txBody>
      </p:sp>
      <p:sp>
        <p:nvSpPr>
          <p:cNvPr id="88" name="Стрелка вправо 87"/>
          <p:cNvSpPr/>
          <p:nvPr/>
        </p:nvSpPr>
        <p:spPr>
          <a:xfrm>
            <a:off x="5990618" y="2541319"/>
            <a:ext cx="675717" cy="334367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669139" y="2052735"/>
            <a:ext cx="2243129" cy="1958829"/>
          </a:xfrm>
          <a:prstGeom prst="roundRect">
            <a:avLst>
              <a:gd name="adj" fmla="val 6505"/>
            </a:avLst>
          </a:prstGeom>
          <a:solidFill>
            <a:srgbClr val="00CC00">
              <a:alpha val="10000"/>
            </a:srgb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Скругленный прямоугольник 92"/>
          <p:cNvSpPr/>
          <p:nvPr/>
        </p:nvSpPr>
        <p:spPr>
          <a:xfrm>
            <a:off x="6669137" y="4268061"/>
            <a:ext cx="2221231" cy="2340141"/>
          </a:xfrm>
          <a:prstGeom prst="roundRect">
            <a:avLst>
              <a:gd name="adj" fmla="val 6505"/>
            </a:avLst>
          </a:prstGeom>
          <a:solidFill>
            <a:srgbClr val="00B0F0">
              <a:alpha val="10000"/>
            </a:srgb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" name="Стрелка вправо 97"/>
          <p:cNvSpPr/>
          <p:nvPr/>
        </p:nvSpPr>
        <p:spPr>
          <a:xfrm>
            <a:off x="8915072" y="3933724"/>
            <a:ext cx="495873" cy="348281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07" name="Скругленный прямоугольник 106"/>
          <p:cNvSpPr/>
          <p:nvPr/>
        </p:nvSpPr>
        <p:spPr>
          <a:xfrm>
            <a:off x="9511784" y="3437134"/>
            <a:ext cx="2383960" cy="3280861"/>
          </a:xfrm>
          <a:prstGeom prst="roundRect">
            <a:avLst>
              <a:gd name="adj" fmla="val 4884"/>
            </a:avLst>
          </a:prstGeom>
          <a:noFill/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2"/>
          </a:fontRef>
        </p:style>
        <p:txBody>
          <a:bodyPr rtlCol="0" anchor="ctr"/>
          <a:lstStyle/>
          <a:p>
            <a:pPr>
              <a:lnSpc>
                <a:spcPct val="115000"/>
              </a:lnSpc>
            </a:pPr>
            <a:r>
              <a:rPr lang="kk-KZ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Виды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kk-KZ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жировка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минары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енинги 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стер-классы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бинары 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нлайн-курсы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мооценка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астие в съездах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грессах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ференциях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убликации в печати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ическая работа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учные инновации и патенты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ставничество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дагогическая деятельность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ленство в профессиональной ассоциации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ленство в экспертных органах</a:t>
            </a:r>
          </a:p>
          <a:p>
            <a:pPr marL="171450" indent="-171450">
              <a:lnSpc>
                <a:spcPct val="115000"/>
              </a:lnSpc>
              <a:buFont typeface="Wingdings" panose="05000000000000000000" pitchFamily="2" charset="2"/>
              <a:buChar char="ü"/>
            </a:pPr>
            <a:r>
              <a:rPr lang="ru-RU" sz="9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рмотворческая деятельность и т.д.</a:t>
            </a:r>
          </a:p>
        </p:txBody>
      </p:sp>
      <p:sp>
        <p:nvSpPr>
          <p:cNvPr id="108" name="Скругленный прямоугольник 107"/>
          <p:cNvSpPr/>
          <p:nvPr/>
        </p:nvSpPr>
        <p:spPr>
          <a:xfrm>
            <a:off x="9511784" y="1828121"/>
            <a:ext cx="2481163" cy="1517039"/>
          </a:xfrm>
          <a:prstGeom prst="roundRect">
            <a:avLst>
              <a:gd name="adj" fmla="val 6505"/>
            </a:avLst>
          </a:prstGeom>
          <a:solidFill>
            <a:srgbClr val="FFFF00">
              <a:alpha val="10000"/>
            </a:srgb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9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0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вид образования, осуществляемый организациями, которые предоставляют образовательные услуги без учета места, сроков и формы обучения с выдачей документа, подтверждающего результаты обучения</a:t>
            </a:r>
          </a:p>
          <a:p>
            <a:pPr algn="just"/>
            <a:endParaRPr lang="ru-RU" sz="4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четные единицы (ЗЕ)</a:t>
            </a:r>
          </a:p>
        </p:txBody>
      </p:sp>
      <p:sp>
        <p:nvSpPr>
          <p:cNvPr id="109" name="Стрелка вправо 108"/>
          <p:cNvSpPr/>
          <p:nvPr/>
        </p:nvSpPr>
        <p:spPr>
          <a:xfrm>
            <a:off x="5961532" y="4545211"/>
            <a:ext cx="675717" cy="334367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50" name="Рисунок 49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930" y="74401"/>
            <a:ext cx="622199" cy="642938"/>
          </a:xfrm>
          <a:prstGeom prst="rect">
            <a:avLst/>
          </a:prstGeom>
        </p:spPr>
      </p:pic>
      <p:sp>
        <p:nvSpPr>
          <p:cNvPr id="53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dirty="0"/>
              <a:t>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4415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647E32DB-E0A6-4B6B-B113-84989F190714}"/>
              </a:ext>
            </a:extLst>
          </p:cNvPr>
          <p:cNvCxnSpPr>
            <a:cxnSpLocks/>
          </p:cNvCxnSpPr>
          <p:nvPr/>
        </p:nvCxnSpPr>
        <p:spPr>
          <a:xfrm>
            <a:off x="224287" y="820347"/>
            <a:ext cx="11880012" cy="1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151" y="18028"/>
            <a:ext cx="737547" cy="762131"/>
          </a:xfrm>
          <a:prstGeom prst="rect">
            <a:avLst/>
          </a:prstGeom>
        </p:spPr>
      </p:pic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7635915" y="10744200"/>
            <a:ext cx="4191001" cy="5769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1AE8220F-BF9B-101A-C51A-A46884595A95}"/>
              </a:ext>
            </a:extLst>
          </p:cNvPr>
          <p:cNvSpPr/>
          <p:nvPr/>
        </p:nvSpPr>
        <p:spPr>
          <a:xfrm>
            <a:off x="1180880" y="169863"/>
            <a:ext cx="10370937" cy="420260"/>
          </a:xfrm>
          <a:prstGeom prst="rect">
            <a:avLst/>
          </a:prstGeom>
        </p:spPr>
        <p:txBody>
          <a:bodyPr wrap="square" lIns="80915" tIns="40458" rIns="80915" bIns="40458">
            <a:spAutoFit/>
          </a:bodyPr>
          <a:lstStyle/>
          <a:p>
            <a:pPr algn="ctr"/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истемные меры по повышению качества медицинского образования  </a:t>
            </a:r>
          </a:p>
        </p:txBody>
      </p:sp>
      <p:sp>
        <p:nvSpPr>
          <p:cNvPr id="8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dirty="0" smtClean="0"/>
              <a:t>5</a:t>
            </a:r>
            <a:endParaRPr lang="en-US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151" y="991284"/>
            <a:ext cx="11372848" cy="478288"/>
          </a:xfrm>
        </p:spPr>
        <p:txBody>
          <a:bodyPr>
            <a:normAutofit/>
          </a:bodyPr>
          <a:lstStyle/>
          <a:p>
            <a:pPr algn="ctr" fontAlgn="base"/>
            <a:r>
              <a:rPr lang="ru-RU" sz="2400" b="0" i="0" dirty="0">
                <a:solidFill>
                  <a:srgbClr val="002060"/>
                </a:solidFill>
                <a:effectLst/>
              </a:rPr>
              <a:t>Независимая оценка знаний и навыков выпускников (2022 год) </a:t>
            </a:r>
            <a:endParaRPr lang="ru-RU" sz="2400" dirty="0">
              <a:solidFill>
                <a:srgbClr val="002060"/>
              </a:solidFill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679924" y="2920785"/>
            <a:ext cx="10638971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dirty="0">
                <a:solidFill>
                  <a:srgbClr val="002060"/>
                </a:solidFill>
              </a:rPr>
              <a:t>Независимая оценка знаний и навыков обучающихся </a:t>
            </a:r>
          </a:p>
        </p:txBody>
      </p:sp>
      <p:sp>
        <p:nvSpPr>
          <p:cNvPr id="13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224287" y="4616671"/>
            <a:ext cx="10638971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dirty="0">
                <a:solidFill>
                  <a:srgbClr val="002060"/>
                </a:solidFill>
                <a:latin typeface="Arial Narrow" panose="020B0606020202030204" pitchFamily="34" charset="0"/>
              </a:rPr>
              <a:t>Утверждение профессиональных стандартов 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3315765" y="3500146"/>
            <a:ext cx="5324199" cy="7272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000" dirty="0">
                <a:solidFill>
                  <a:schemeClr val="accent2">
                    <a:lumMod val="75000"/>
                  </a:schemeClr>
                </a:solidFill>
              </a:rPr>
              <a:t>Базовые дисциплины, </a:t>
            </a:r>
          </a:p>
          <a:p>
            <a:pPr fontAlgn="base"/>
            <a:r>
              <a:rPr lang="ru-RU" sz="2000" dirty="0">
                <a:solidFill>
                  <a:schemeClr val="accent2">
                    <a:lumMod val="75000"/>
                  </a:schemeClr>
                </a:solidFill>
              </a:rPr>
              <a:t>3 курс, 2542 обучающихся </a:t>
            </a:r>
          </a:p>
        </p:txBody>
      </p:sp>
      <p:sp>
        <p:nvSpPr>
          <p:cNvPr id="15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41193" y="3500146"/>
            <a:ext cx="2977377" cy="5729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200" b="1" dirty="0">
                <a:latin typeface="Arial Narrow" panose="020B0606020202030204" pitchFamily="34" charset="0"/>
              </a:rPr>
              <a:t>Пилотный проект 2022:</a:t>
            </a:r>
          </a:p>
        </p:txBody>
      </p:sp>
      <p:sp>
        <p:nvSpPr>
          <p:cNvPr id="16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8880439" y="3481349"/>
            <a:ext cx="3057560" cy="7648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2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Полномасштабное внедрение - 2026 г.</a:t>
            </a:r>
          </a:p>
        </p:txBody>
      </p:sp>
      <p:sp>
        <p:nvSpPr>
          <p:cNvPr id="17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403915" y="1562574"/>
            <a:ext cx="11147901" cy="11124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ase"/>
            <a:r>
              <a:rPr lang="ru-RU" sz="2400" b="1" dirty="0">
                <a:latin typeface="Arial Narrow" panose="020B0606020202030204" pitchFamily="34" charset="0"/>
              </a:rPr>
              <a:t>Всего:          </a:t>
            </a:r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1647 студентов,                           </a:t>
            </a:r>
            <a:r>
              <a:rPr lang="ru-RU" sz="2400" b="1" dirty="0">
                <a:latin typeface="Arial Narrow" panose="020B0606020202030204" pitchFamily="34" charset="0"/>
              </a:rPr>
              <a:t>«Сдавшие»: </a:t>
            </a:r>
            <a:r>
              <a:rPr lang="ru-RU" sz="2400" b="1" dirty="0">
                <a:solidFill>
                  <a:srgbClr val="00B050"/>
                </a:solidFill>
                <a:latin typeface="Arial Narrow" panose="020B0606020202030204" pitchFamily="34" charset="0"/>
              </a:rPr>
              <a:t>87,4-90,8%</a:t>
            </a:r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 </a:t>
            </a:r>
          </a:p>
          <a:p>
            <a:pPr algn="l" fontAlgn="base"/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                      3650 интернов,                                                     </a:t>
            </a:r>
            <a:r>
              <a:rPr lang="ru-RU" sz="2400" b="1" dirty="0">
                <a:solidFill>
                  <a:srgbClr val="00B050"/>
                </a:solidFill>
                <a:latin typeface="Arial Narrow" panose="020B0606020202030204" pitchFamily="34" charset="0"/>
              </a:rPr>
              <a:t>99,9%</a:t>
            </a:r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 </a:t>
            </a:r>
          </a:p>
          <a:p>
            <a:pPr algn="l" fontAlgn="base"/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                      2171 врачей-резидентов,                                     </a:t>
            </a:r>
            <a:r>
              <a:rPr lang="ru-RU" sz="2400" b="1" dirty="0">
                <a:solidFill>
                  <a:srgbClr val="00B050"/>
                </a:solidFill>
                <a:latin typeface="Arial Narrow" panose="020B0606020202030204" pitchFamily="34" charset="0"/>
              </a:rPr>
              <a:t>99,9%   </a:t>
            </a:r>
          </a:p>
        </p:txBody>
      </p:sp>
      <p:sp>
        <p:nvSpPr>
          <p:cNvPr id="18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1417707" y="5229307"/>
            <a:ext cx="3584988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b="1" dirty="0">
                <a:solidFill>
                  <a:srgbClr val="003B89"/>
                </a:solidFill>
                <a:latin typeface="Arial Narrow" panose="020B0606020202030204" pitchFamily="34" charset="0"/>
              </a:rPr>
              <a:t>21 </a:t>
            </a:r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проф. стандарт в </a:t>
            </a:r>
            <a:r>
              <a:rPr lang="ru-RU" sz="2400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2022 году</a:t>
            </a:r>
          </a:p>
        </p:txBody>
      </p:sp>
      <p:sp>
        <p:nvSpPr>
          <p:cNvPr id="19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6170957" y="5225332"/>
            <a:ext cx="3584988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b="1" dirty="0">
                <a:solidFill>
                  <a:srgbClr val="003B89"/>
                </a:solidFill>
                <a:latin typeface="Arial Narrow" panose="020B0606020202030204" pitchFamily="34" charset="0"/>
              </a:rPr>
              <a:t>36</a:t>
            </a:r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 проф. стандарт в </a:t>
            </a:r>
            <a:r>
              <a:rPr lang="ru-RU" sz="2400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2023 году</a:t>
            </a:r>
          </a:p>
        </p:txBody>
      </p:sp>
    </p:spTree>
    <p:extLst>
      <p:ext uri="{BB962C8B-B14F-4D97-AF65-F5344CB8AC3E}">
        <p14:creationId xmlns:p14="http://schemas.microsoft.com/office/powerpoint/2010/main" val="20383336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647E32DB-E0A6-4B6B-B113-84989F190714}"/>
              </a:ext>
            </a:extLst>
          </p:cNvPr>
          <p:cNvCxnSpPr>
            <a:cxnSpLocks/>
          </p:cNvCxnSpPr>
          <p:nvPr/>
        </p:nvCxnSpPr>
        <p:spPr>
          <a:xfrm>
            <a:off x="224287" y="820347"/>
            <a:ext cx="11880012" cy="1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151" y="18028"/>
            <a:ext cx="737547" cy="762131"/>
          </a:xfrm>
          <a:prstGeom prst="rect">
            <a:avLst/>
          </a:prstGeom>
        </p:spPr>
      </p:pic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7635915" y="10744200"/>
            <a:ext cx="4191001" cy="5769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1AE8220F-BF9B-101A-C51A-A46884595A95}"/>
              </a:ext>
            </a:extLst>
          </p:cNvPr>
          <p:cNvSpPr/>
          <p:nvPr/>
        </p:nvSpPr>
        <p:spPr>
          <a:xfrm>
            <a:off x="1180880" y="169863"/>
            <a:ext cx="10370937" cy="420260"/>
          </a:xfrm>
          <a:prstGeom prst="rect">
            <a:avLst/>
          </a:prstGeom>
        </p:spPr>
        <p:txBody>
          <a:bodyPr wrap="square" lIns="80915" tIns="40458" rIns="80915" bIns="40458">
            <a:spAutoFit/>
          </a:bodyPr>
          <a:lstStyle/>
          <a:p>
            <a:pPr algn="ctr"/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истемные меры по повышению качества медицинского образования  </a:t>
            </a:r>
          </a:p>
        </p:txBody>
      </p:sp>
      <p:sp>
        <p:nvSpPr>
          <p:cNvPr id="8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dirty="0" smtClean="0"/>
              <a:t>6</a:t>
            </a:r>
            <a:endParaRPr lang="en-US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151" y="1203558"/>
            <a:ext cx="11372848" cy="478288"/>
          </a:xfrm>
        </p:spPr>
        <p:txBody>
          <a:bodyPr>
            <a:normAutofit/>
          </a:bodyPr>
          <a:lstStyle/>
          <a:p>
            <a:pPr algn="ctr" fontAlgn="base"/>
            <a:r>
              <a:rPr lang="ru-RU" sz="2400" b="0" i="0" dirty="0">
                <a:solidFill>
                  <a:srgbClr val="002060"/>
                </a:solidFill>
                <a:effectLst/>
              </a:rPr>
              <a:t>Пилотный проект «Резиденты в село!» (2022 год) </a:t>
            </a:r>
            <a:endParaRPr lang="ru-RU" sz="2400" dirty="0">
              <a:solidFill>
                <a:srgbClr val="002060"/>
              </a:solidFill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663082" y="3302652"/>
            <a:ext cx="10638971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dirty="0">
                <a:solidFill>
                  <a:srgbClr val="002060"/>
                </a:solidFill>
              </a:rPr>
              <a:t>Участие работодателей в образовательном процессе</a:t>
            </a:r>
          </a:p>
        </p:txBody>
      </p:sp>
      <p:sp>
        <p:nvSpPr>
          <p:cNvPr id="20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663082" y="1854035"/>
            <a:ext cx="3035746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3-месячная стажировка </a:t>
            </a:r>
          </a:p>
        </p:txBody>
      </p:sp>
      <p:sp>
        <p:nvSpPr>
          <p:cNvPr id="21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403916" y="2344346"/>
            <a:ext cx="3584988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29</a:t>
            </a:r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 специальностей </a:t>
            </a:r>
          </a:p>
        </p:txBody>
      </p:sp>
      <p:sp>
        <p:nvSpPr>
          <p:cNvPr id="22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4274243" y="1864181"/>
            <a:ext cx="3584988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377</a:t>
            </a:r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 врачей резидентов </a:t>
            </a:r>
          </a:p>
        </p:txBody>
      </p:sp>
      <p:sp>
        <p:nvSpPr>
          <p:cNvPr id="23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4564963" y="2325140"/>
            <a:ext cx="3195428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16 областей и 3 города </a:t>
            </a:r>
          </a:p>
        </p:txBody>
      </p:sp>
      <p:sp>
        <p:nvSpPr>
          <p:cNvPr id="24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7859231" y="1864181"/>
            <a:ext cx="3584988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156</a:t>
            </a:r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 клинических баз </a:t>
            </a:r>
          </a:p>
        </p:txBody>
      </p:sp>
      <p:sp>
        <p:nvSpPr>
          <p:cNvPr id="25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8353011" y="2356445"/>
            <a:ext cx="3584988" cy="4782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/>
            <a:r>
              <a:rPr lang="ru-RU" sz="2400" b="1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241</a:t>
            </a:r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Arial Narrow" panose="020B0606020202030204" pitchFamily="34" charset="0"/>
              </a:rPr>
              <a:t> клинический наставник</a:t>
            </a:r>
          </a:p>
        </p:txBody>
      </p:sp>
      <p:sp>
        <p:nvSpPr>
          <p:cNvPr id="26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 txBox="1">
            <a:spLocks/>
          </p:cNvSpPr>
          <p:nvPr/>
        </p:nvSpPr>
        <p:spPr>
          <a:xfrm>
            <a:off x="1048698" y="3963597"/>
            <a:ext cx="10270197" cy="1859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algn="l" fontAlgn="base">
              <a:buFont typeface="Wingdings" panose="05000000000000000000" pitchFamily="2" charset="2"/>
              <a:buChar char="ü"/>
            </a:pPr>
            <a:r>
              <a:rPr lang="ru-RU" sz="2400" dirty="0">
                <a:latin typeface="Arial Narrow" panose="020B0606020202030204" pitchFamily="34" charset="0"/>
              </a:rPr>
              <a:t>Разработка образовательных программ (ВУЗы, НИИ, НЦ, колледжи),</a:t>
            </a:r>
          </a:p>
          <a:p>
            <a:pPr marL="342900" indent="-342900" algn="l" fontAlgn="base">
              <a:buFont typeface="Wingdings" panose="05000000000000000000" pitchFamily="2" charset="2"/>
              <a:buChar char="ü"/>
            </a:pPr>
            <a:r>
              <a:rPr lang="ru-RU" sz="2400" dirty="0">
                <a:latin typeface="Arial Narrow" panose="020B0606020202030204" pitchFamily="34" charset="0"/>
              </a:rPr>
              <a:t>Разработка сертификационных курсов и программ повышения квалификации,</a:t>
            </a:r>
          </a:p>
          <a:p>
            <a:pPr marL="342900" indent="-342900" algn="l" fontAlgn="base">
              <a:buFont typeface="Wingdings" panose="05000000000000000000" pitchFamily="2" charset="2"/>
              <a:buChar char="ü"/>
            </a:pPr>
            <a:r>
              <a:rPr lang="ru-RU" sz="2400" dirty="0">
                <a:latin typeface="Arial Narrow" panose="020B0606020202030204" pitchFamily="34" charset="0"/>
              </a:rPr>
              <a:t>Государственная аттестационная комиссия (выпускные экзамены),</a:t>
            </a:r>
          </a:p>
          <a:p>
            <a:pPr marL="342900" indent="-342900" algn="l" fontAlgn="base">
              <a:buFont typeface="Wingdings" panose="05000000000000000000" pitchFamily="2" charset="2"/>
              <a:buChar char="ü"/>
            </a:pPr>
            <a:r>
              <a:rPr lang="ru-RU" sz="2400" dirty="0">
                <a:latin typeface="Arial Narrow" panose="020B0606020202030204" pitchFamily="34" charset="0"/>
              </a:rPr>
              <a:t>Разработка профессиональных стандартов </a:t>
            </a:r>
          </a:p>
        </p:txBody>
      </p:sp>
    </p:spTree>
    <p:extLst>
      <p:ext uri="{BB962C8B-B14F-4D97-AF65-F5344CB8AC3E}">
        <p14:creationId xmlns:p14="http://schemas.microsoft.com/office/powerpoint/2010/main" val="32968535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647E32DB-E0A6-4B6B-B113-84989F190714}"/>
              </a:ext>
            </a:extLst>
          </p:cNvPr>
          <p:cNvCxnSpPr>
            <a:cxnSpLocks/>
          </p:cNvCxnSpPr>
          <p:nvPr/>
        </p:nvCxnSpPr>
        <p:spPr>
          <a:xfrm>
            <a:off x="224287" y="820347"/>
            <a:ext cx="11880012" cy="1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151" y="18028"/>
            <a:ext cx="737547" cy="762131"/>
          </a:xfrm>
          <a:prstGeom prst="rect">
            <a:avLst/>
          </a:prstGeom>
        </p:spPr>
      </p:pic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7635915" y="10744200"/>
            <a:ext cx="4191001" cy="5769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1AE8220F-BF9B-101A-C51A-A46884595A95}"/>
              </a:ext>
            </a:extLst>
          </p:cNvPr>
          <p:cNvSpPr/>
          <p:nvPr/>
        </p:nvSpPr>
        <p:spPr>
          <a:xfrm>
            <a:off x="1180880" y="169863"/>
            <a:ext cx="10370937" cy="420260"/>
          </a:xfrm>
          <a:prstGeom prst="rect">
            <a:avLst/>
          </a:prstGeom>
        </p:spPr>
        <p:txBody>
          <a:bodyPr wrap="square" lIns="80915" tIns="40458" rIns="80915" bIns="40458">
            <a:spAutoFit/>
          </a:bodyPr>
          <a:lstStyle/>
          <a:p>
            <a:pPr algn="ctr"/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истемные меры по повышению качества медицинского образования  </a:t>
            </a:r>
          </a:p>
        </p:txBody>
      </p:sp>
      <p:sp>
        <p:nvSpPr>
          <p:cNvPr id="8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dirty="0" smtClean="0"/>
              <a:t>7</a:t>
            </a:r>
            <a:endParaRPr lang="en-US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5028" y="1010351"/>
            <a:ext cx="10638971" cy="630711"/>
          </a:xfrm>
        </p:spPr>
        <p:txBody>
          <a:bodyPr>
            <a:normAutofit fontScale="90000"/>
          </a:bodyPr>
          <a:lstStyle/>
          <a:p>
            <a:pPr algn="ctr" fontAlgn="base"/>
            <a:r>
              <a:rPr lang="ru-RU" sz="2400" b="0" i="0" dirty="0">
                <a:solidFill>
                  <a:srgbClr val="002060"/>
                </a:solidFill>
                <a:effectLst/>
                <a:latin typeface="Arial Narrow" panose="020B0606020202030204" pitchFamily="34" charset="0"/>
              </a:rPr>
              <a:t>Внесение изменений в Классификатор направлений подготовки кадров с высшим и послевузовским образованием </a:t>
            </a:r>
            <a:r>
              <a:rPr lang="ru-RU" sz="2400" b="0" i="1" dirty="0">
                <a:solidFill>
                  <a:srgbClr val="002060"/>
                </a:solidFill>
                <a:effectLst/>
                <a:latin typeface="Arial Narrow" panose="020B0606020202030204" pitchFamily="34" charset="0"/>
              </a:rPr>
              <a:t>(приказ МОН РК от 13 октября 2018 года № 569)</a:t>
            </a:r>
            <a:endParaRPr lang="ru-RU" sz="2400" i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18" name="Таблица 17">
            <a:extLst>
              <a:ext uri="{FF2B5EF4-FFF2-40B4-BE49-F238E27FC236}">
                <a16:creationId xmlns="" xmlns:a16="http://schemas.microsoft.com/office/drawing/2014/main" id="{18A9581B-2290-35B1-BFB4-06704409B5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5340381"/>
              </p:ext>
            </p:extLst>
          </p:nvPr>
        </p:nvGraphicFramePr>
        <p:xfrm>
          <a:off x="415796" y="3585731"/>
          <a:ext cx="4568457" cy="1369822"/>
        </p:xfrm>
        <a:graphic>
          <a:graphicData uri="http://schemas.openxmlformats.org/drawingml/2006/table">
            <a:tbl>
              <a:tblPr firstRow="1" firstCol="1" bandRow="1">
                <a:tableStyleId>{0505E3EF-67EA-436B-97B2-0124C06EBD24}</a:tableStyleId>
              </a:tblPr>
              <a:tblGrid>
                <a:gridCol w="2177797">
                  <a:extLst>
                    <a:ext uri="{9D8B030D-6E8A-4147-A177-3AD203B41FA5}">
                      <a16:colId xmlns="" xmlns:a16="http://schemas.microsoft.com/office/drawing/2014/main" val="2730612602"/>
                    </a:ext>
                  </a:extLst>
                </a:gridCol>
                <a:gridCol w="1718631">
                  <a:extLst>
                    <a:ext uri="{9D8B030D-6E8A-4147-A177-3AD203B41FA5}">
                      <a16:colId xmlns="" xmlns:a16="http://schemas.microsoft.com/office/drawing/2014/main" val="2351165605"/>
                    </a:ext>
                  </a:extLst>
                </a:gridCol>
                <a:gridCol w="672029">
                  <a:extLst>
                    <a:ext uri="{9D8B030D-6E8A-4147-A177-3AD203B41FA5}">
                      <a16:colId xmlns="" xmlns:a16="http://schemas.microsoft.com/office/drawing/2014/main" val="16586128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д и классификация </a:t>
                      </a:r>
                    </a:p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ласти образования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д и классификация </a:t>
                      </a:r>
                    </a:p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правлений подготовки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д МСКО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832685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6B10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6B101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910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059984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7M10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M101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910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973193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R01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(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едицина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R011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910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8933695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8D10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8D101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15000"/>
                        </a:lnSpc>
                        <a:spcAft>
                          <a:spcPts val="100"/>
                        </a:spcAft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910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859629163"/>
                  </a:ext>
                </a:extLst>
              </a:tr>
            </a:tbl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="" xmlns:a16="http://schemas.microsoft.com/office/drawing/2014/main" id="{B6372855-5ED5-206C-D27E-A42F033409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5719943"/>
              </p:ext>
            </p:extLst>
          </p:nvPr>
        </p:nvGraphicFramePr>
        <p:xfrm>
          <a:off x="5268372" y="2358834"/>
          <a:ext cx="6693360" cy="4318120"/>
        </p:xfrm>
        <a:graphic>
          <a:graphicData uri="http://schemas.openxmlformats.org/drawingml/2006/table">
            <a:tbl>
              <a:tblPr firstRow="1" firstCol="1" bandRow="1">
                <a:tableStyleId>{BDBED569-4797-4DF1-A0F4-6AAB3CD982D8}</a:tableStyleId>
              </a:tblPr>
              <a:tblGrid>
                <a:gridCol w="2480796">
                  <a:extLst>
                    <a:ext uri="{9D8B030D-6E8A-4147-A177-3AD203B41FA5}">
                      <a16:colId xmlns="" xmlns:a16="http://schemas.microsoft.com/office/drawing/2014/main" val="1110246287"/>
                    </a:ext>
                  </a:extLst>
                </a:gridCol>
                <a:gridCol w="2886738">
                  <a:extLst>
                    <a:ext uri="{9D8B030D-6E8A-4147-A177-3AD203B41FA5}">
                      <a16:colId xmlns="" xmlns:a16="http://schemas.microsoft.com/office/drawing/2014/main" val="321673776"/>
                    </a:ext>
                  </a:extLst>
                </a:gridCol>
                <a:gridCol w="1325826">
                  <a:extLst>
                    <a:ext uri="{9D8B030D-6E8A-4147-A177-3AD203B41FA5}">
                      <a16:colId xmlns="" xmlns:a16="http://schemas.microsoft.com/office/drawing/2014/main" val="2575843066"/>
                    </a:ext>
                  </a:extLst>
                </a:gridCol>
              </a:tblGrid>
              <a:tr h="215906">
                <a:tc>
                  <a:txBody>
                    <a:bodyPr/>
                    <a:lstStyle/>
                    <a:p>
                      <a:pPr marL="12700" algn="ctr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spc="10" dirty="0">
                          <a:effectLst/>
                          <a:latin typeface="Arial Narrow" panose="020B0606020202030204" pitchFamily="34" charset="0"/>
                        </a:rPr>
                        <a:t>Область образования</a:t>
                      </a:r>
                      <a:endParaRPr lang="ru-RU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spc="10">
                          <a:effectLst/>
                          <a:latin typeface="Arial Narrow" panose="020B0606020202030204" pitchFamily="34" charset="0"/>
                        </a:rPr>
                        <a:t>Направление подготовки</a:t>
                      </a:r>
                      <a:endParaRPr lang="ru-RU" sz="12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r>
                        <a:rPr lang="ru-RU" sz="1200" spc="10" dirty="0">
                          <a:effectLst/>
                          <a:latin typeface="Arial Narrow" panose="020B0606020202030204" pitchFamily="34" charset="0"/>
                        </a:rPr>
                        <a:t>Код в МСКО</a:t>
                      </a:r>
                      <a:endParaRPr lang="ru-RU" dirty="0"/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2853845831"/>
                  </a:ext>
                </a:extLst>
              </a:tr>
              <a:tr h="215906">
                <a:tc gridSpan="3"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Направления подготовки в высшем образовании – бакалавриате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13871779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6B10 Здравоохранение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Arial Narrow" panose="020B0606020202030204" pitchFamily="34" charset="0"/>
                        </a:rPr>
                        <a:t>6B104  Сестринское дело</a:t>
                      </a:r>
                      <a:endParaRPr lang="ru-RU" sz="1200" b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0913</a:t>
                      </a:r>
                      <a:endParaRPr lang="ru-RU" dirty="0"/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34095115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Arial Narrow" panose="020B0606020202030204" pitchFamily="34" charset="0"/>
                        </a:rPr>
                        <a:t>6B105  Фармация</a:t>
                      </a:r>
                      <a:endParaRPr lang="ru-RU" sz="1200" b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0916</a:t>
                      </a:r>
                      <a:endParaRPr lang="ru-RU" dirty="0"/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04146193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Arial Narrow" panose="020B0606020202030204" pitchFamily="34" charset="0"/>
                        </a:rPr>
                        <a:t>6B106  Общественное здоровье</a:t>
                      </a:r>
                      <a:endParaRPr lang="ru-RU" sz="1200" b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0988</a:t>
                      </a:r>
                      <a:endParaRPr lang="ru-RU" dirty="0"/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664960493"/>
                  </a:ext>
                </a:extLst>
              </a:tr>
              <a:tr h="215906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Направления подготовки в непрерывном интегрированном медицинском образовании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57443351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 7ВМ10 Здравоохранение 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7ВM101 Медицина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0912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704514406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Arial Narrow" panose="020B0606020202030204" pitchFamily="34" charset="0"/>
                        </a:rPr>
                        <a:t>7ВМ102 Педиатрия</a:t>
                      </a:r>
                      <a:endParaRPr lang="ru-RU" sz="1200" b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0912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211801525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Arial Narrow" panose="020B0606020202030204" pitchFamily="34" charset="0"/>
                        </a:rPr>
                        <a:t>7ВМ103  Стоматология</a:t>
                      </a:r>
                      <a:endParaRPr lang="ru-RU" sz="1200" b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0911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12630696"/>
                  </a:ext>
                </a:extLst>
              </a:tr>
              <a:tr h="215906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Направления подготовки в послевузовском образовании - магистратуре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400122629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 7M10 Здравоохранение 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7М104  Сестринское дело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0913</a:t>
                      </a:r>
                      <a:endParaRPr lang="ru-RU" dirty="0"/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756914905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7М105  Фармация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0916</a:t>
                      </a:r>
                      <a:endParaRPr lang="ru-RU" dirty="0"/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51226300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7М106  Общественное здоровье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0988</a:t>
                      </a:r>
                      <a:endParaRPr lang="ru-RU" dirty="0"/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4246067854"/>
                  </a:ext>
                </a:extLst>
              </a:tr>
              <a:tr h="215906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Направления подготовки в послевузовском образовании - резидентуре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44295727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Arial Narrow" panose="020B0606020202030204" pitchFamily="34" charset="0"/>
                        </a:rPr>
                        <a:t>7R01 Здравоохранение (медицина)</a:t>
                      </a:r>
                      <a:endParaRPr lang="ru-RU" sz="1200" b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7R011 Медицина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0912</a:t>
                      </a:r>
                      <a:endParaRPr lang="ru-RU" dirty="0"/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851478348"/>
                  </a:ext>
                </a:extLst>
              </a:tr>
              <a:tr h="215906">
                <a:tc gridSpan="3"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Направления подготовки в послевузовском образовании - докторантуре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7901563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Arial Narrow" panose="020B0606020202030204" pitchFamily="34" charset="0"/>
                        </a:rPr>
                        <a:t> 8D10 Здравоохранение </a:t>
                      </a:r>
                      <a:endParaRPr lang="ru-RU" sz="1200" b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8D101 Медицина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0912</a:t>
                      </a:r>
                      <a:endParaRPr lang="ru-RU" dirty="0"/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7689395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200" b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8D 104  Сестринское дело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0913</a:t>
                      </a:r>
                      <a:endParaRPr lang="ru-RU" dirty="0"/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2050667516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200" b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8D 105  Фармация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0916</a:t>
                      </a:r>
                      <a:endParaRPr lang="ru-RU" dirty="0"/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857795603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200" b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8D 106  Общественное здоровье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0988</a:t>
                      </a:r>
                      <a:endParaRPr lang="ru-RU" dirty="0"/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78198614"/>
                  </a:ext>
                </a:extLst>
              </a:tr>
            </a:tbl>
          </a:graphicData>
        </a:graphic>
      </p:graphicFrame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CF5D299B-3E7D-A39D-EB9D-F1AA1B19739E}"/>
              </a:ext>
            </a:extLst>
          </p:cNvPr>
          <p:cNvSpPr txBox="1"/>
          <p:nvPr/>
        </p:nvSpPr>
        <p:spPr>
          <a:xfrm>
            <a:off x="728004" y="1947884"/>
            <a:ext cx="3944039" cy="373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C00000"/>
                </a:solidFill>
                <a:latin typeface="Arial Narrow" panose="020B0606020202030204" pitchFamily="34" charset="0"/>
              </a:rPr>
              <a:t>Действующий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88EA95BF-D074-C791-9AB2-344475151227}"/>
              </a:ext>
            </a:extLst>
          </p:cNvPr>
          <p:cNvSpPr txBox="1"/>
          <p:nvPr/>
        </p:nvSpPr>
        <p:spPr>
          <a:xfrm>
            <a:off x="6623677" y="1947884"/>
            <a:ext cx="3944039" cy="373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C00000"/>
                </a:solidFill>
                <a:latin typeface="Arial Narrow" panose="020B0606020202030204" pitchFamily="34" charset="0"/>
              </a:rPr>
              <a:t>Предлагаемый</a:t>
            </a:r>
          </a:p>
        </p:txBody>
      </p:sp>
    </p:spTree>
    <p:extLst>
      <p:ext uri="{BB962C8B-B14F-4D97-AF65-F5344CB8AC3E}">
        <p14:creationId xmlns:p14="http://schemas.microsoft.com/office/powerpoint/2010/main" val="17046908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647E32DB-E0A6-4B6B-B113-84989F190714}"/>
              </a:ext>
            </a:extLst>
          </p:cNvPr>
          <p:cNvCxnSpPr>
            <a:cxnSpLocks/>
          </p:cNvCxnSpPr>
          <p:nvPr/>
        </p:nvCxnSpPr>
        <p:spPr>
          <a:xfrm>
            <a:off x="224287" y="820347"/>
            <a:ext cx="11880012" cy="1"/>
          </a:xfrm>
          <a:prstGeom prst="line">
            <a:avLst/>
          </a:prstGeom>
          <a:ln w="28575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1A307196-8807-4281-A149-E91BB1466A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1151" y="18028"/>
            <a:ext cx="737547" cy="762131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1AE8220F-BF9B-101A-C51A-A46884595A95}"/>
              </a:ext>
            </a:extLst>
          </p:cNvPr>
          <p:cNvSpPr/>
          <p:nvPr/>
        </p:nvSpPr>
        <p:spPr>
          <a:xfrm>
            <a:off x="1180880" y="169863"/>
            <a:ext cx="10370937" cy="420260"/>
          </a:xfrm>
          <a:prstGeom prst="rect">
            <a:avLst/>
          </a:prstGeom>
        </p:spPr>
        <p:txBody>
          <a:bodyPr wrap="square" lIns="80915" tIns="40458" rIns="80915" bIns="40458">
            <a:spAutoFit/>
          </a:bodyPr>
          <a:lstStyle/>
          <a:p>
            <a:pPr algn="ctr"/>
            <a:r>
              <a:rPr lang="ru-RU" sz="22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Системные меры по повышению качества медицинского образования  </a:t>
            </a:r>
          </a:p>
        </p:txBody>
      </p:sp>
      <p:sp>
        <p:nvSpPr>
          <p:cNvPr id="8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dirty="0" smtClean="0"/>
              <a:t>8</a:t>
            </a:r>
            <a:endParaRPr lang="en-US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="" xmlns:a16="http://schemas.microsoft.com/office/drawing/2014/main" id="{221B35B4-8FF0-4815-9D11-651F26728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5028" y="1010351"/>
            <a:ext cx="10638971" cy="630711"/>
          </a:xfrm>
        </p:spPr>
        <p:txBody>
          <a:bodyPr>
            <a:normAutofit fontScale="90000"/>
          </a:bodyPr>
          <a:lstStyle/>
          <a:p>
            <a:pPr algn="ctr" fontAlgn="base"/>
            <a:r>
              <a:rPr lang="ru-RU" sz="2400" b="0" i="0" dirty="0">
                <a:solidFill>
                  <a:srgbClr val="002060"/>
                </a:solidFill>
                <a:effectLst/>
                <a:latin typeface="Arial Narrow" panose="020B0606020202030204" pitchFamily="34" charset="0"/>
              </a:rPr>
              <a:t>Внесение изменений в Классификатор направлений подготовки кадров с высшим и послевузовским образованием </a:t>
            </a:r>
            <a:r>
              <a:rPr lang="ru-RU" sz="2400" b="0" i="1" dirty="0">
                <a:solidFill>
                  <a:srgbClr val="002060"/>
                </a:solidFill>
                <a:effectLst/>
                <a:latin typeface="Arial Narrow" panose="020B0606020202030204" pitchFamily="34" charset="0"/>
              </a:rPr>
              <a:t>(приказ МОН РК от 13 октября 2018 года № 569)</a:t>
            </a:r>
            <a:endParaRPr lang="ru-RU" sz="2400" i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Стрелка вниз 2"/>
          <p:cNvSpPr/>
          <p:nvPr/>
        </p:nvSpPr>
        <p:spPr>
          <a:xfrm>
            <a:off x="5738190" y="1868557"/>
            <a:ext cx="281610" cy="480943"/>
          </a:xfrm>
          <a:prstGeom prst="downArrow">
            <a:avLst/>
          </a:prstGeom>
          <a:solidFill>
            <a:srgbClr val="FFFF00"/>
          </a:solidFill>
          <a:ln>
            <a:solidFill>
              <a:srgbClr val="003B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902803" y="2408844"/>
            <a:ext cx="10923419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200" dirty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Приказ Министра образования и науки Республики Казахстан от 17 июня 2015 года № 391 </a:t>
            </a:r>
          </a:p>
          <a:p>
            <a:pPr algn="ctr"/>
            <a:r>
              <a:rPr lang="ru-RU" sz="2200" dirty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«Об утверждении квалификационных требований, предъявляемых к образовательной деятельности, и перечня документов, подтверждающих соответствие им» </a:t>
            </a:r>
          </a:p>
          <a:p>
            <a:pPr algn="ctr"/>
            <a:r>
              <a:rPr lang="ru-RU" sz="2200" dirty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(</a:t>
            </a:r>
            <a:r>
              <a:rPr lang="ru-RU" sz="2000" i="1" dirty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зарегистрирован в Министерстве юстиции Республики Казахстан 22 июля 2015 года № 11716</a:t>
            </a:r>
            <a:r>
              <a:rPr lang="ru-RU" sz="2200" dirty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).</a:t>
            </a: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="" xmlns:a16="http://schemas.microsoft.com/office/drawing/2014/main" id="{B6372855-5ED5-206C-D27E-A42F033409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017888"/>
              </p:ext>
            </p:extLst>
          </p:nvPr>
        </p:nvGraphicFramePr>
        <p:xfrm>
          <a:off x="1537803" y="4376567"/>
          <a:ext cx="5340625" cy="1855380"/>
        </p:xfrm>
        <a:graphic>
          <a:graphicData uri="http://schemas.openxmlformats.org/drawingml/2006/table">
            <a:tbl>
              <a:tblPr firstRow="1" firstCol="1" bandRow="1">
                <a:tableStyleId>{BDBED569-4797-4DF1-A0F4-6AAB3CD982D8}</a:tableStyleId>
              </a:tblPr>
              <a:tblGrid>
                <a:gridCol w="5340625">
                  <a:extLst>
                    <a:ext uri="{9D8B030D-6E8A-4147-A177-3AD203B41FA5}">
                      <a16:colId xmlns="" xmlns:a16="http://schemas.microsoft.com/office/drawing/2014/main" val="321673776"/>
                    </a:ext>
                  </a:extLst>
                </a:gridCol>
              </a:tblGrid>
              <a:tr h="215906">
                <a:tc>
                  <a:txBody>
                    <a:bodyPr/>
                    <a:lstStyle/>
                    <a:p>
                      <a:pPr marL="1270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spc="10" dirty="0">
                          <a:effectLst/>
                          <a:latin typeface="Arial Narrow" panose="020B0606020202030204" pitchFamily="34" charset="0"/>
                        </a:rPr>
                        <a:t>Бакалавриат</a:t>
                      </a:r>
                      <a:endParaRPr lang="ru-RU" sz="1600" b="1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13871779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Arial Narrow" panose="020B0606020202030204" pitchFamily="34" charset="0"/>
                        </a:rPr>
                        <a:t>6B104  Сестринское дело</a:t>
                      </a:r>
                      <a:endParaRPr lang="ru-RU" sz="1200" b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34095115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Arial Narrow" panose="020B0606020202030204" pitchFamily="34" charset="0"/>
                        </a:rPr>
                        <a:t>6B105  Фармация</a:t>
                      </a:r>
                      <a:endParaRPr lang="ru-RU" sz="1200" b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04146193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Arial Narrow" panose="020B0606020202030204" pitchFamily="34" charset="0"/>
                        </a:rPr>
                        <a:t>6B106  Общественное здоровье</a:t>
                      </a:r>
                      <a:endParaRPr lang="ru-RU" sz="1200" b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664960493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600" b="1" kern="1200" spc="1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епрерывное интегрированное медицинское образование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7ВM101 Медицина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704514406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>
                          <a:effectLst/>
                          <a:latin typeface="Arial Narrow" panose="020B0606020202030204" pitchFamily="34" charset="0"/>
                        </a:rPr>
                        <a:t>7ВМ102 Педиатрия</a:t>
                      </a:r>
                      <a:endParaRPr lang="ru-RU" sz="1200" b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211801525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7ВМ103  Стоматология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12630696"/>
                  </a:ext>
                </a:extLst>
              </a:tr>
            </a:tbl>
          </a:graphicData>
        </a:graphic>
      </p:graphicFrame>
      <p:graphicFrame>
        <p:nvGraphicFramePr>
          <p:cNvPr id="15" name="Таблица 14">
            <a:extLst>
              <a:ext uri="{FF2B5EF4-FFF2-40B4-BE49-F238E27FC236}">
                <a16:creationId xmlns="" xmlns:a16="http://schemas.microsoft.com/office/drawing/2014/main" id="{B6372855-5ED5-206C-D27E-A42F033409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277973"/>
              </p:ext>
            </p:extLst>
          </p:nvPr>
        </p:nvGraphicFramePr>
        <p:xfrm>
          <a:off x="7144107" y="4030835"/>
          <a:ext cx="3756358" cy="2567164"/>
        </p:xfrm>
        <a:graphic>
          <a:graphicData uri="http://schemas.openxmlformats.org/drawingml/2006/table">
            <a:tbl>
              <a:tblPr firstRow="1" firstCol="1" bandRow="1">
                <a:tableStyleId>{BDBED569-4797-4DF1-A0F4-6AAB3CD982D8}</a:tableStyleId>
              </a:tblPr>
              <a:tblGrid>
                <a:gridCol w="3756358">
                  <a:extLst>
                    <a:ext uri="{9D8B030D-6E8A-4147-A177-3AD203B41FA5}">
                      <a16:colId xmlns="" xmlns:a16="http://schemas.microsoft.com/office/drawing/2014/main" val="321673776"/>
                    </a:ext>
                  </a:extLst>
                </a:gridCol>
              </a:tblGrid>
              <a:tr h="215906">
                <a:tc>
                  <a:txBody>
                    <a:bodyPr/>
                    <a:lstStyle/>
                    <a:p>
                      <a:pPr marL="1270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spc="1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Резидентура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marR="0" lvl="0" indent="0" algn="just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1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spc="1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7R011 Медицина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600" b="1" kern="1200" spc="1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агистратура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7М104  Сестринское дело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756914905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7М105  Фармация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51226300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7М106  Общественное здоровье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4246067854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 defTabSz="914400" rtl="0" eaLnBrk="1" latinLnBrk="0" hangingPunct="1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600" b="1" kern="1200" spc="1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кторантура</a:t>
                      </a: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8D101 Медицина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76893950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8D 104  Сестринское дело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2050667516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 algn="just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8D 105  Фармация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857795603"/>
                  </a:ext>
                </a:extLst>
              </a:tr>
              <a:tr h="215906">
                <a:tc>
                  <a:txBody>
                    <a:bodyPr/>
                    <a:lstStyle/>
                    <a:p>
                      <a:pPr marL="12700">
                        <a:lnSpc>
                          <a:spcPct val="107000"/>
                        </a:lnSpc>
                        <a:spcAft>
                          <a:spcPts val="100"/>
                        </a:spcAft>
                      </a:pPr>
                      <a:r>
                        <a:rPr lang="ru-RU" sz="1200" b="0" spc="10" dirty="0">
                          <a:effectLst/>
                          <a:latin typeface="Arial Narrow" panose="020B0606020202030204" pitchFamily="34" charset="0"/>
                        </a:rPr>
                        <a:t>8D 106  Общественное здоровье</a:t>
                      </a:r>
                      <a:endParaRPr lang="ru-RU" sz="12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="" xmlns:a16="http://schemas.microsoft.com/office/drawing/2014/main" val="3781986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25862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52DB89C2-DD9D-7EE9-3915-E06B7E910B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0123" y="124084"/>
            <a:ext cx="4093328" cy="140478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1A2AD4DB-EEB5-FE6E-9681-990239FA8A35}"/>
              </a:ext>
            </a:extLst>
          </p:cNvPr>
          <p:cNvSpPr txBox="1"/>
          <p:nvPr/>
        </p:nvSpPr>
        <p:spPr>
          <a:xfrm>
            <a:off x="126989" y="1546278"/>
            <a:ext cx="609432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0" i="0" dirty="0">
                <a:solidFill>
                  <a:srgbClr val="002060"/>
                </a:solidFill>
                <a:effectLst/>
                <a:latin typeface="Arial Narrow" panose="020B0606020202030204" pitchFamily="34" charset="0"/>
              </a:rPr>
              <a:t> 6. Объем цикла </a:t>
            </a:r>
            <a:r>
              <a:rPr lang="ru-RU" sz="1200" b="1" i="0" dirty="0">
                <a:solidFill>
                  <a:srgbClr val="002060"/>
                </a:solidFill>
                <a:effectLst/>
                <a:latin typeface="Arial Narrow" panose="020B0606020202030204" pitchFamily="34" charset="0"/>
              </a:rPr>
              <a:t>ООД составляет 56 академических кредитов</a:t>
            </a:r>
            <a:r>
              <a:rPr lang="ru-RU" sz="1200" b="0" i="0" dirty="0">
                <a:solidFill>
                  <a:srgbClr val="002060"/>
                </a:solidFill>
                <a:effectLst/>
                <a:latin typeface="Arial Narrow" panose="020B0606020202030204" pitchFamily="34" charset="0"/>
              </a:rPr>
              <a:t>. Из них 51 академических кредита отводится на дисциплины обязательного компонента: История Казахстана, Философия, Казахский (русский) язык, Иностранный язык, Информационно-коммуникационные технологии (на английском языке), Физическая культура, Модуль социально-политических знаний (политология, социология, культурология, психология).</a:t>
            </a:r>
            <a:endParaRPr lang="ru-RU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D35DE754-5944-55ED-EC9F-2D5266B317F2}"/>
              </a:ext>
            </a:extLst>
          </p:cNvPr>
          <p:cNvSpPr txBox="1"/>
          <p:nvPr/>
        </p:nvSpPr>
        <p:spPr>
          <a:xfrm>
            <a:off x="126989" y="2561941"/>
            <a:ext cx="6094324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7. По завершению изучения обязательных дисциплин цикла ООД обучающийся: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1) оценивает окружающую действительность на основе мировоззренческих позиций, сформированных знанием основ философии, которые обеспечивают научное осмысление и изучение природного и социального мира методами научного и философского познания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2) интерпретирует содержание и специфические особенности мифологического, религиозного и научного мировоззрения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3) аргументирует собственную оценку всему происходящему в социальной и производственной сферах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4) проявляет гражданскую позицию на основе глубокого понимания и научного анализа основных этапов, закономерностей и своеобразия исторического развития Казахстана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5) использует методы и приемы исторического описания для анализа причин и следствий событий истории Казахстана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6) оценивает ситуации в различных сферах межличностной, социальной и профессиональной коммуникации с учетом базового знания социологии, политологии, культурологи и психологии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7) синтезирует знания данных наук как современного продукта интегративных процессов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8) использует научные методы и приемы исследования конкретной науки, а также всего социально-политического кластера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9) вырабатывает собственную нравственную и гражданскую позицию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10) оперирует общественными, деловыми, культурными, правовыми и этическими нормами казахстанского общества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11) демонстрирует личностную и профессиональную конкурентоспособность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12) применяет на практике знания в области общественно-гуманитарных наук, имеющего мировое признание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13) осуществляет выбор методологии и анализа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14) обобщает результаты исследования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15) синтезирует новое знание и презентовать его в виде гуманитарной общественно значимой продукции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16) вступает в коммуникацию в устной и письменной формах на казахском, русском и иностранном языках для решения задач межличностного, межкультурного и производственного (профессионального) общения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17) осуществляет использование языковых и речевых средств на основе системы грамматического знания; анализировать информацию в соответствии с ситуацией общения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18) оценивает действия и поступки участников коммуникации.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19) использует в личной деятельности различные виды информационно-коммуникационных технологий: интернет-ресурсы, облачные и мобильные сервисы по поиску, хранению, обработке, защите и распространению информации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20) выстраивает личную образовательную траекторию в течение всей жизни для саморазвития и карьерного роста, ориентироваться на здоровый образ жизни для обеспечения полноценной социальной и профессиональной деятельности посредством методов и средств физической культуры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21) знает и понимает основные закономерности истории Казахстана, основы философских, социально-политических, экономических и правовых знаний, коммуникации в устной и письменной формах на казахском, русском и иностранном языках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22) применяет освоенные знания для эффективной социализации и адаптации в изменяющихся социокультурных условиях;</a:t>
            </a:r>
          </a:p>
          <a:p>
            <a:pPr algn="l" fontAlgn="base"/>
            <a:r>
              <a:rPr lang="ru-RU" sz="800" b="0" dirty="0">
                <a:solidFill>
                  <a:srgbClr val="000000"/>
                </a:solidFill>
                <a:effectLst/>
                <a:latin typeface="Arial Narrow" panose="020B0606020202030204" pitchFamily="34" charset="0"/>
              </a:rPr>
              <a:t>      23) владеет навыками количественного и качественного анализа социальных явлений, процессов и проблем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C5A66F6E-BD58-1DFF-571A-00E815D2CD25}"/>
              </a:ext>
            </a:extLst>
          </p:cNvPr>
          <p:cNvSpPr txBox="1"/>
          <p:nvPr/>
        </p:nvSpPr>
        <p:spPr>
          <a:xfrm>
            <a:off x="6600775" y="225206"/>
            <a:ext cx="491113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  <a:effectLst/>
                <a:latin typeface="Arial Narrow" panose="020B0606020202030204" pitchFamily="34" charset="0"/>
                <a:ea typeface="Times New Roman" panose="02020603050405020304" pitchFamily="18" charset="0"/>
              </a:rPr>
              <a:t>Перечень компетенций и результатов обучения по специальностям «Медицина», «Педиатрия»</a:t>
            </a:r>
            <a:endParaRPr lang="ru-RU" sz="14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="" xmlns:a16="http://schemas.microsoft.com/office/drawing/2014/main" id="{D1FAD1F0-6217-1FE7-44B7-2AB3EE88422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7625656"/>
              </p:ext>
            </p:extLst>
          </p:nvPr>
        </p:nvGraphicFramePr>
        <p:xfrm>
          <a:off x="6348301" y="826477"/>
          <a:ext cx="5562296" cy="3994688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73563">
                  <a:extLst>
                    <a:ext uri="{9D8B030D-6E8A-4147-A177-3AD203B41FA5}">
                      <a16:colId xmlns="" xmlns:a16="http://schemas.microsoft.com/office/drawing/2014/main" val="1356193629"/>
                    </a:ext>
                  </a:extLst>
                </a:gridCol>
                <a:gridCol w="1125416">
                  <a:extLst>
                    <a:ext uri="{9D8B030D-6E8A-4147-A177-3AD203B41FA5}">
                      <a16:colId xmlns="" xmlns:a16="http://schemas.microsoft.com/office/drawing/2014/main" val="9810517"/>
                    </a:ext>
                  </a:extLst>
                </a:gridCol>
                <a:gridCol w="4163317">
                  <a:extLst>
                    <a:ext uri="{9D8B030D-6E8A-4147-A177-3AD203B41FA5}">
                      <a16:colId xmlns="" xmlns:a16="http://schemas.microsoft.com/office/drawing/2014/main" val="806053353"/>
                    </a:ext>
                  </a:extLst>
                </a:gridCol>
              </a:tblGrid>
              <a:tr h="12557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Компетенции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Результаты обучения программы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extLst>
                  <a:ext uri="{0D108BD9-81ED-4DB2-BD59-A6C34878D82A}">
                    <a16:rowId xmlns="" xmlns:a16="http://schemas.microsoft.com/office/drawing/2014/main" val="2971668360"/>
                  </a:ext>
                </a:extLst>
              </a:tr>
              <a:tr h="10302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Медицинские знания: </a:t>
                      </a:r>
                    </a:p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/>
                </a:tc>
                <a:tc>
                  <a:txBody>
                    <a:bodyPr/>
                    <a:lstStyle/>
                    <a:p>
                      <a:pPr marL="79375" marR="17018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демонстрировать и применять на практике знания в области биомедицинских, клинических, эпидемиологических и социально-поведенческих наук, включая общепринятые, развивающиеся и постоянно обновляемые знания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extLst>
                  <a:ext uri="{0D108BD9-81ED-4DB2-BD59-A6C34878D82A}">
                    <a16:rowId xmlns="" xmlns:a16="http://schemas.microsoft.com/office/drawing/2014/main" val="18615237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Коммуникации: </a:t>
                      </a:r>
                    </a:p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/>
                </a:tc>
                <a:tc>
                  <a:txBody>
                    <a:bodyPr/>
                    <a:lstStyle/>
                    <a:p>
                      <a:pPr marL="79375" marR="17018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демонстрировать межличностные и коммуникативные навыки, приводящие к эффективному обмену информацией и сотрудничеству с пациентами, их семьями и медицинскими работниками, в том числе с использованием информационных технологий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extLst>
                  <a:ext uri="{0D108BD9-81ED-4DB2-BD59-A6C34878D82A}">
                    <a16:rowId xmlns="" xmlns:a16="http://schemas.microsoft.com/office/drawing/2014/main" val="39650663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Клинические навыки: </a:t>
                      </a:r>
                    </a:p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/>
                </a:tc>
                <a:tc>
                  <a:txBody>
                    <a:bodyPr/>
                    <a:lstStyle/>
                    <a:p>
                      <a:pPr marL="79375" marR="17018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обеспечивать эффективный пациент-центрированный уход, включающий в себя соответствующие и эффективные мероприятия, направленные на диагностику, лечение и профилактику заболеваний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extLst>
                  <a:ext uri="{0D108BD9-81ED-4DB2-BD59-A6C34878D82A}">
                    <a16:rowId xmlns="" xmlns:a16="http://schemas.microsoft.com/office/drawing/2014/main" val="23520590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Профессионализм: </a:t>
                      </a:r>
                    </a:p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/>
                </a:tc>
                <a:tc>
                  <a:txBody>
                    <a:bodyPr/>
                    <a:lstStyle/>
                    <a:p>
                      <a:pPr marL="79375" marR="17018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демонстрировать приверженность к выполнению профессиональных обязанностей и соблюдению этических принципов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extLst>
                  <a:ext uri="{0D108BD9-81ED-4DB2-BD59-A6C34878D82A}">
                    <a16:rowId xmlns="" xmlns:a16="http://schemas.microsoft.com/office/drawing/2014/main" val="36527251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Личностное и профессиональное развитие: 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/>
                </a:tc>
                <a:tc>
                  <a:txBody>
                    <a:bodyPr/>
                    <a:lstStyle/>
                    <a:p>
                      <a:pPr marL="79375" marR="17018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демонстрировать качества, необходимые для поддержания непрерывного личностного и профессионального роста, постоянного улучшения качества медицинского обслуживания на основе постоянной самооценки и обучения на протяжении всей жизни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/>
                </a:tc>
                <a:extLst>
                  <a:ext uri="{0D108BD9-81ED-4DB2-BD59-A6C34878D82A}">
                    <a16:rowId xmlns="" xmlns:a16="http://schemas.microsoft.com/office/drawing/2014/main" val="30606246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Нормативно-правовые знания: </a:t>
                      </a:r>
                    </a:p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</a:p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/>
                </a:tc>
                <a:tc>
                  <a:txBody>
                    <a:bodyPr/>
                    <a:lstStyle/>
                    <a:p>
                      <a:pPr marL="79375" marR="17018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осознавать и демонстрировать ответственность за свои действия в рамках действующих нормативно-правовых основ системы здравоохранения и руководствоваться ими в своей практической деятельности для обеспечения оптимального медицинского обслуживания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extLst>
                  <a:ext uri="{0D108BD9-81ED-4DB2-BD59-A6C34878D82A}">
                    <a16:rowId xmlns="" xmlns:a16="http://schemas.microsoft.com/office/drawing/2014/main" val="3919338611"/>
                  </a:ext>
                </a:extLst>
              </a:tr>
              <a:tr h="48985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000"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  <a:endParaRPr lang="ru-RU" sz="100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tc>
                  <a:txBody>
                    <a:bodyPr/>
                    <a:lstStyle/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Исследования: </a:t>
                      </a:r>
                    </a:p>
                    <a:p>
                      <a:pPr marL="79375" algn="l">
                        <a:lnSpc>
                          <a:spcPct val="107000"/>
                        </a:lnSpc>
                      </a:pP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/>
                </a:tc>
                <a:tc>
                  <a:txBody>
                    <a:bodyPr/>
                    <a:lstStyle/>
                    <a:p>
                      <a:pPr marL="79375" marR="17018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 Narrow" panose="020B0606020202030204" pitchFamily="34" charset="0"/>
                        </a:rPr>
                        <a:t>демонстрировать способность к исследованию и оцениванию результатов лечения своих пациентов, оценивать и внедрять принципы лечения, основанные на научных данных</a:t>
                      </a:r>
                      <a:endParaRPr lang="ru-RU" sz="10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66" marR="5066" marT="5066" marB="5066" anchor="ctr"/>
                </a:tc>
                <a:extLst>
                  <a:ext uri="{0D108BD9-81ED-4DB2-BD59-A6C34878D82A}">
                    <a16:rowId xmlns="" xmlns:a16="http://schemas.microsoft.com/office/drawing/2014/main" val="4173448201"/>
                  </a:ext>
                </a:extLst>
              </a:tr>
            </a:tbl>
          </a:graphicData>
        </a:graphic>
      </p:graphicFrame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7A3FA9A1-016C-53F5-6456-7A5109195B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48302" y="4802613"/>
            <a:ext cx="1985334" cy="592027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EE37657A-C8E3-6961-AF7C-BC43353031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29468" y="5445839"/>
            <a:ext cx="1606091" cy="64116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94E1A1B0-5E30-50A0-5AAD-6C5220F72B2D}"/>
              </a:ext>
            </a:extLst>
          </p:cNvPr>
          <p:cNvSpPr txBox="1"/>
          <p:nvPr/>
        </p:nvSpPr>
        <p:spPr>
          <a:xfrm>
            <a:off x="9056340" y="6185811"/>
            <a:ext cx="281174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Развитие потенциала в рамках программ </a:t>
            </a:r>
            <a:r>
              <a:rPr lang="ru-RU" sz="1200" dirty="0" err="1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Tempus</a:t>
            </a:r>
            <a:r>
              <a:rPr lang="ru-RU" sz="12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 и ERASMUS</a:t>
            </a:r>
            <a:r>
              <a:rPr lang="en-US" sz="12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 </a:t>
            </a:r>
            <a:r>
              <a:rPr lang="ru-RU" sz="12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anose="020B0606020202030204" pitchFamily="34" charset="0"/>
              </a:rPr>
              <a:t>ЗА 15 лет</a:t>
            </a:r>
          </a:p>
        </p:txBody>
      </p:sp>
      <p:pic>
        <p:nvPicPr>
          <p:cNvPr id="1026" name="Picture 2" descr="Картинки по запросу asian medical association logo">
            <a:extLst>
              <a:ext uri="{FF2B5EF4-FFF2-40B4-BE49-F238E27FC236}">
                <a16:creationId xmlns="" xmlns:a16="http://schemas.microsoft.com/office/drawing/2014/main" id="{C3CBD701-1063-1988-DC12-35B8AA786F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250" y="5189085"/>
            <a:ext cx="882397" cy="680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="" xmlns:a16="http://schemas.microsoft.com/office/drawing/2014/main" id="{89E764C7-6FF4-E928-CED0-5B6E0B24C9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8301" y="6176653"/>
            <a:ext cx="2017812" cy="470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="" xmlns:a16="http://schemas.microsoft.com/office/drawing/2014/main" id="{2DF26129-F3AC-B734-F0BA-A1488BED50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20099" y="5606427"/>
            <a:ext cx="882397" cy="3737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1467BEAC-420A-5C04-1972-1286751DC5F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23338" y="5015894"/>
            <a:ext cx="1788568" cy="461566"/>
          </a:xfrm>
          <a:prstGeom prst="rect">
            <a:avLst/>
          </a:prstGeom>
        </p:spPr>
      </p:pic>
      <p:sp>
        <p:nvSpPr>
          <p:cNvPr id="15" name="Slide Number Placeholder 8"/>
          <p:cNvSpPr txBox="1">
            <a:spLocks/>
          </p:cNvSpPr>
          <p:nvPr/>
        </p:nvSpPr>
        <p:spPr>
          <a:xfrm>
            <a:off x="11683999" y="7937"/>
            <a:ext cx="508001" cy="366183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noFill/>
          </a:ln>
        </p:spPr>
        <p:txBody>
          <a:bodyPr wrap="square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kk-KZ" dirty="0" smtClean="0"/>
              <a:t>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570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Firm Format - template">
  <a:themeElements>
    <a:clrScheme name="Custom 1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9F0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9C61C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LOP - normal" id="{9B1EEE48-FBB1-4441-A18B-EA0D61F9D5CF}" vid="{46CCEF6C-6F35-4EC3-B141-99BB08E4FC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964</TotalTime>
  <Words>1454</Words>
  <Application>Microsoft Office PowerPoint</Application>
  <PresentationFormat>Широкоэкранный</PresentationFormat>
  <Paragraphs>431</Paragraphs>
  <Slides>12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5" baseType="lpstr">
      <vt:lpstr>Arial</vt:lpstr>
      <vt:lpstr>Arial Narrow</vt:lpstr>
      <vt:lpstr>Calibri</vt:lpstr>
      <vt:lpstr>굴림</vt:lpstr>
      <vt:lpstr>Maven Pro Medium</vt:lpstr>
      <vt:lpstr>Montserrat ExtraBold</vt:lpstr>
      <vt:lpstr>Pompiere</vt:lpstr>
      <vt:lpstr>Roboto Condensed</vt:lpstr>
      <vt:lpstr>Times New Roman</vt:lpstr>
      <vt:lpstr>Wingdings</vt:lpstr>
      <vt:lpstr>1_Тема Office</vt:lpstr>
      <vt:lpstr>Firm Format - template</vt:lpstr>
      <vt:lpstr>think-cell Slide</vt:lpstr>
      <vt:lpstr>Презентация PowerPoint</vt:lpstr>
      <vt:lpstr> Организации образования и науки в области здравоохранения  </vt:lpstr>
      <vt:lpstr>Презентация PowerPoint</vt:lpstr>
      <vt:lpstr>Презентация PowerPoint</vt:lpstr>
      <vt:lpstr>Независимая оценка знаний и навыков выпускников (2022 год) </vt:lpstr>
      <vt:lpstr>Пилотный проект «Резиденты в село!» (2022 год) </vt:lpstr>
      <vt:lpstr>Внесение изменений в Классификатор направлений подготовки кадров с высшим и послевузовским образованием (приказ МОН РК от 13 октября 2018 года № 569)</vt:lpstr>
      <vt:lpstr>Внесение изменений в Классификатор направлений подготовки кадров с высшим и послевузовским образованием (приказ МОН РК от 13 октября 2018 года № 569)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б итогах реализации Государственной программы развития здравоохранения Республики Казахстан «Денсаулық» за 2017 год</dc:title>
  <dc:creator>Aliya S. Zhambaeva</dc:creator>
  <cp:lastModifiedBy>Кайргалиева Гульбану</cp:lastModifiedBy>
  <cp:revision>1368</cp:revision>
  <cp:lastPrinted>2022-12-22T03:31:15Z</cp:lastPrinted>
  <dcterms:created xsi:type="dcterms:W3CDTF">2018-03-12T06:10:22Z</dcterms:created>
  <dcterms:modified xsi:type="dcterms:W3CDTF">2022-12-22T12:06:16Z</dcterms:modified>
</cp:coreProperties>
</file>